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3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4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5.xml" ContentType="application/vnd.openxmlformats-officedocument.theme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6.xml" ContentType="application/vnd.openxmlformats-officedocument.theme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891" r:id="rId1"/>
    <p:sldMasterId id="2147483971" r:id="rId2"/>
    <p:sldMasterId id="2147484026" r:id="rId3"/>
    <p:sldMasterId id="2147484061" r:id="rId4"/>
    <p:sldMasterId id="2147484109" r:id="rId5"/>
    <p:sldMasterId id="2147484164" r:id="rId6"/>
    <p:sldMasterId id="2147484206" r:id="rId7"/>
  </p:sldMasterIdLst>
  <p:notesMasterIdLst>
    <p:notesMasterId r:id="rId14"/>
  </p:notesMasterIdLst>
  <p:handoutMasterIdLst>
    <p:handoutMasterId r:id="rId15"/>
  </p:handoutMasterIdLst>
  <p:sldIdLst>
    <p:sldId id="269" r:id="rId8"/>
    <p:sldId id="2147482370" r:id="rId9"/>
    <p:sldId id="2147482369" r:id="rId10"/>
    <p:sldId id="2147482368" r:id="rId11"/>
    <p:sldId id="2147482826" r:id="rId12"/>
    <p:sldId id="2147482827" r:id="rId13"/>
  </p:sldIdLst>
  <p:sldSz cx="9144000" cy="5143500" type="screen16x9"/>
  <p:notesSz cx="6858000" cy="9144000"/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2C2B"/>
    <a:srgbClr val="FFFFFF"/>
    <a:srgbClr val="1717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83197" autoAdjust="0"/>
  </p:normalViewPr>
  <p:slideViewPr>
    <p:cSldViewPr snapToGrid="0" snapToObjects="1">
      <p:cViewPr varScale="1">
        <p:scale>
          <a:sx n="140" d="100"/>
          <a:sy n="140" d="100"/>
        </p:scale>
        <p:origin x="1224" y="20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E0904B5-C477-4B71-99AB-C0D5F7E82EC3}" type="doc">
      <dgm:prSet loTypeId="urn:microsoft.com/office/officeart/2005/8/layout/pyramid1" loCatId="pyramid" qsTypeId="urn:microsoft.com/office/officeart/2005/8/quickstyle/simple1" qsCatId="simple" csTypeId="urn:microsoft.com/office/officeart/2005/8/colors/accent2_4" csCatId="accent2" phldr="1"/>
      <dgm:spPr/>
    </dgm:pt>
    <dgm:pt modelId="{441F37F7-B416-4455-8404-19C8B6FDFDCD}">
      <dgm:prSet phldrT="[Text]" custT="1"/>
      <dgm:spPr>
        <a:solidFill>
          <a:srgbClr val="002060"/>
        </a:solidFill>
      </dgm:spPr>
      <dgm:t>
        <a:bodyPr/>
        <a:lstStyle/>
        <a:p>
          <a:endParaRPr lang="en-US" sz="1000" b="1" dirty="0">
            <a:solidFill>
              <a:schemeClr val="bg1"/>
            </a:solidFill>
          </a:endParaRPr>
        </a:p>
        <a:p>
          <a:r>
            <a:rPr lang="en-US" sz="1000" b="1" dirty="0">
              <a:solidFill>
                <a:schemeClr val="bg1"/>
              </a:solidFill>
            </a:rPr>
            <a:t>App </a:t>
          </a:r>
        </a:p>
        <a:p>
          <a:r>
            <a:rPr lang="en-US" sz="1000" b="1" dirty="0">
              <a:solidFill>
                <a:schemeClr val="bg1"/>
              </a:solidFill>
            </a:rPr>
            <a:t>Controls</a:t>
          </a:r>
        </a:p>
      </dgm:t>
    </dgm:pt>
    <dgm:pt modelId="{0A46F9F9-4890-4EC8-9A19-084A0C4312C4}" type="parTrans" cxnId="{25191FA5-4221-490D-BE79-521FBDFB5737}">
      <dgm:prSet/>
      <dgm:spPr/>
      <dgm:t>
        <a:bodyPr/>
        <a:lstStyle/>
        <a:p>
          <a:endParaRPr lang="en-US" sz="800" b="1">
            <a:solidFill>
              <a:schemeClr val="bg1"/>
            </a:solidFill>
          </a:endParaRPr>
        </a:p>
      </dgm:t>
    </dgm:pt>
    <dgm:pt modelId="{A7FF320D-48B8-49F5-BDC4-2BF66DB4F761}" type="sibTrans" cxnId="{25191FA5-4221-490D-BE79-521FBDFB5737}">
      <dgm:prSet/>
      <dgm:spPr/>
      <dgm:t>
        <a:bodyPr/>
        <a:lstStyle/>
        <a:p>
          <a:endParaRPr lang="en-US" sz="800" b="1">
            <a:solidFill>
              <a:schemeClr val="bg1"/>
            </a:solidFill>
          </a:endParaRPr>
        </a:p>
      </dgm:t>
    </dgm:pt>
    <dgm:pt modelId="{50183CCA-BBC6-492B-8F83-FA20AD17E09F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1100" b="1" dirty="0">
              <a:solidFill>
                <a:schemeClr val="bg1"/>
              </a:solidFill>
            </a:rPr>
            <a:t>Data Controls</a:t>
          </a:r>
        </a:p>
      </dgm:t>
    </dgm:pt>
    <dgm:pt modelId="{83F318A4-2C73-4079-AB5A-D5C68CBBB8E6}" type="parTrans" cxnId="{D50552C7-2582-4184-8297-F4011BA9364F}">
      <dgm:prSet/>
      <dgm:spPr/>
      <dgm:t>
        <a:bodyPr/>
        <a:lstStyle/>
        <a:p>
          <a:endParaRPr lang="en-US" sz="800" b="1">
            <a:solidFill>
              <a:schemeClr val="bg1"/>
            </a:solidFill>
          </a:endParaRPr>
        </a:p>
      </dgm:t>
    </dgm:pt>
    <dgm:pt modelId="{3EF11901-E73D-44D1-A948-C651473C4A73}" type="sibTrans" cxnId="{D50552C7-2582-4184-8297-F4011BA9364F}">
      <dgm:prSet/>
      <dgm:spPr/>
      <dgm:t>
        <a:bodyPr/>
        <a:lstStyle/>
        <a:p>
          <a:endParaRPr lang="en-US" sz="800" b="1">
            <a:solidFill>
              <a:schemeClr val="bg1"/>
            </a:solidFill>
          </a:endParaRPr>
        </a:p>
      </dgm:t>
    </dgm:pt>
    <dgm:pt modelId="{6B209C20-FD92-4611-BB67-65B104562FE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US" sz="1100" b="1" dirty="0">
              <a:solidFill>
                <a:schemeClr val="tx1"/>
              </a:solidFill>
            </a:rPr>
            <a:t>Infrastructure Security Controls</a:t>
          </a:r>
        </a:p>
      </dgm:t>
    </dgm:pt>
    <dgm:pt modelId="{C6B07382-33E1-4BFF-A4A3-369B2EBBBB6F}" type="parTrans" cxnId="{C292BC80-300B-4360-9190-8FBB49EF0AA9}">
      <dgm:prSet/>
      <dgm:spPr/>
      <dgm:t>
        <a:bodyPr/>
        <a:lstStyle/>
        <a:p>
          <a:endParaRPr lang="en-US" sz="800" b="1">
            <a:solidFill>
              <a:schemeClr val="bg1"/>
            </a:solidFill>
          </a:endParaRPr>
        </a:p>
      </dgm:t>
    </dgm:pt>
    <dgm:pt modelId="{385C11F2-1005-4717-AA08-5D82019A38D6}" type="sibTrans" cxnId="{C292BC80-300B-4360-9190-8FBB49EF0AA9}">
      <dgm:prSet/>
      <dgm:spPr/>
      <dgm:t>
        <a:bodyPr/>
        <a:lstStyle/>
        <a:p>
          <a:endParaRPr lang="en-US" sz="800" b="1">
            <a:solidFill>
              <a:schemeClr val="bg1"/>
            </a:solidFill>
          </a:endParaRPr>
        </a:p>
      </dgm:t>
    </dgm:pt>
    <dgm:pt modelId="{84583650-1706-4103-BD08-89619213B698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100" b="1" dirty="0">
              <a:solidFill>
                <a:schemeClr val="bg1"/>
              </a:solidFill>
            </a:rPr>
            <a:t>AI Model Controls</a:t>
          </a:r>
        </a:p>
      </dgm:t>
    </dgm:pt>
    <dgm:pt modelId="{341B9FCE-8862-4BAA-AF3D-45FEBEA50E00}" type="parTrans" cxnId="{85A51A25-9450-46F0-B80D-3298044766B8}">
      <dgm:prSet/>
      <dgm:spPr/>
      <dgm:t>
        <a:bodyPr/>
        <a:lstStyle/>
        <a:p>
          <a:endParaRPr lang="en-US" sz="800" b="1">
            <a:solidFill>
              <a:schemeClr val="bg1"/>
            </a:solidFill>
          </a:endParaRPr>
        </a:p>
      </dgm:t>
    </dgm:pt>
    <dgm:pt modelId="{3F18DF85-36BC-4D72-8CCA-50A5299972F6}" type="sibTrans" cxnId="{85A51A25-9450-46F0-B80D-3298044766B8}">
      <dgm:prSet/>
      <dgm:spPr/>
      <dgm:t>
        <a:bodyPr/>
        <a:lstStyle/>
        <a:p>
          <a:endParaRPr lang="en-US" sz="800" b="1">
            <a:solidFill>
              <a:schemeClr val="bg1"/>
            </a:solidFill>
          </a:endParaRPr>
        </a:p>
      </dgm:t>
    </dgm:pt>
    <dgm:pt modelId="{44D3062D-DF91-4645-A7FE-5A0CEFAEA78A}" type="pres">
      <dgm:prSet presAssocID="{0E0904B5-C477-4B71-99AB-C0D5F7E82EC3}" presName="Name0" presStyleCnt="0">
        <dgm:presLayoutVars>
          <dgm:dir/>
          <dgm:animLvl val="lvl"/>
          <dgm:resizeHandles val="exact"/>
        </dgm:presLayoutVars>
      </dgm:prSet>
      <dgm:spPr/>
    </dgm:pt>
    <dgm:pt modelId="{F45C2F5D-C299-4D6C-AD89-DA5F439E9ED5}" type="pres">
      <dgm:prSet presAssocID="{441F37F7-B416-4455-8404-19C8B6FDFDCD}" presName="Name8" presStyleCnt="0"/>
      <dgm:spPr/>
    </dgm:pt>
    <dgm:pt modelId="{0AC20C63-CAE9-4200-8107-5C994E7DA34D}" type="pres">
      <dgm:prSet presAssocID="{441F37F7-B416-4455-8404-19C8B6FDFDCD}" presName="level" presStyleLbl="node1" presStyleIdx="0" presStyleCnt="4">
        <dgm:presLayoutVars>
          <dgm:chMax val="1"/>
          <dgm:bulletEnabled val="1"/>
        </dgm:presLayoutVars>
      </dgm:prSet>
      <dgm:spPr/>
    </dgm:pt>
    <dgm:pt modelId="{88965FEF-386A-4173-B95A-301B861C0475}" type="pres">
      <dgm:prSet presAssocID="{441F37F7-B416-4455-8404-19C8B6FDFDC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666DDE4-1C27-4BAC-A6FA-61B564DBB4CE}" type="pres">
      <dgm:prSet presAssocID="{84583650-1706-4103-BD08-89619213B698}" presName="Name8" presStyleCnt="0"/>
      <dgm:spPr/>
    </dgm:pt>
    <dgm:pt modelId="{21C32F1D-E2ED-4B2C-A96B-774F34A6D8BA}" type="pres">
      <dgm:prSet presAssocID="{84583650-1706-4103-BD08-89619213B698}" presName="level" presStyleLbl="node1" presStyleIdx="1" presStyleCnt="4">
        <dgm:presLayoutVars>
          <dgm:chMax val="1"/>
          <dgm:bulletEnabled val="1"/>
        </dgm:presLayoutVars>
      </dgm:prSet>
      <dgm:spPr/>
    </dgm:pt>
    <dgm:pt modelId="{BA27DC3E-F1B1-4098-81E8-EDB115BB910C}" type="pres">
      <dgm:prSet presAssocID="{84583650-1706-4103-BD08-89619213B69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CA3691E-D184-4D1D-8239-6A8D03661CDC}" type="pres">
      <dgm:prSet presAssocID="{50183CCA-BBC6-492B-8F83-FA20AD17E09F}" presName="Name8" presStyleCnt="0"/>
      <dgm:spPr/>
    </dgm:pt>
    <dgm:pt modelId="{FCDDEB68-D15D-4E02-8988-1D5010F984D1}" type="pres">
      <dgm:prSet presAssocID="{50183CCA-BBC6-492B-8F83-FA20AD17E09F}" presName="level" presStyleLbl="node1" presStyleIdx="2" presStyleCnt="4">
        <dgm:presLayoutVars>
          <dgm:chMax val="1"/>
          <dgm:bulletEnabled val="1"/>
        </dgm:presLayoutVars>
      </dgm:prSet>
      <dgm:spPr/>
    </dgm:pt>
    <dgm:pt modelId="{704488F0-4D04-4592-BB60-0C829CAABC9F}" type="pres">
      <dgm:prSet presAssocID="{50183CCA-BBC6-492B-8F83-FA20AD17E09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EBF309D-E873-4F4C-98F7-B75DBF99AB17}" type="pres">
      <dgm:prSet presAssocID="{6B209C20-FD92-4611-BB67-65B104562FEE}" presName="Name8" presStyleCnt="0"/>
      <dgm:spPr/>
    </dgm:pt>
    <dgm:pt modelId="{4A63C1BE-C5B9-484D-8C36-40675BE4ED6C}" type="pres">
      <dgm:prSet presAssocID="{6B209C20-FD92-4611-BB67-65B104562FEE}" presName="level" presStyleLbl="node1" presStyleIdx="3" presStyleCnt="4">
        <dgm:presLayoutVars>
          <dgm:chMax val="1"/>
          <dgm:bulletEnabled val="1"/>
        </dgm:presLayoutVars>
      </dgm:prSet>
      <dgm:spPr/>
    </dgm:pt>
    <dgm:pt modelId="{E45FBF3D-E6FF-49D7-BFEB-99B92EB4A68C}" type="pres">
      <dgm:prSet presAssocID="{6B209C20-FD92-4611-BB67-65B104562FEE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7E2D6817-AD5D-445B-BD2C-E0E5CDE696F2}" type="presOf" srcId="{0E0904B5-C477-4B71-99AB-C0D5F7E82EC3}" destId="{44D3062D-DF91-4645-A7FE-5A0CEFAEA78A}" srcOrd="0" destOrd="0" presId="urn:microsoft.com/office/officeart/2005/8/layout/pyramid1"/>
    <dgm:cxn modelId="{85A51A25-9450-46F0-B80D-3298044766B8}" srcId="{0E0904B5-C477-4B71-99AB-C0D5F7E82EC3}" destId="{84583650-1706-4103-BD08-89619213B698}" srcOrd="1" destOrd="0" parTransId="{341B9FCE-8862-4BAA-AF3D-45FEBEA50E00}" sibTransId="{3F18DF85-36BC-4D72-8CCA-50A5299972F6}"/>
    <dgm:cxn modelId="{C292BC80-300B-4360-9190-8FBB49EF0AA9}" srcId="{0E0904B5-C477-4B71-99AB-C0D5F7E82EC3}" destId="{6B209C20-FD92-4611-BB67-65B104562FEE}" srcOrd="3" destOrd="0" parTransId="{C6B07382-33E1-4BFF-A4A3-369B2EBBBB6F}" sibTransId="{385C11F2-1005-4717-AA08-5D82019A38D6}"/>
    <dgm:cxn modelId="{3BC03A85-CBD6-4A9A-A145-7EA7FE9DEA42}" type="presOf" srcId="{441F37F7-B416-4455-8404-19C8B6FDFDCD}" destId="{88965FEF-386A-4173-B95A-301B861C0475}" srcOrd="1" destOrd="0" presId="urn:microsoft.com/office/officeart/2005/8/layout/pyramid1"/>
    <dgm:cxn modelId="{A7F4E09F-2232-477C-A5F2-FE3515DDE301}" type="presOf" srcId="{50183CCA-BBC6-492B-8F83-FA20AD17E09F}" destId="{704488F0-4D04-4592-BB60-0C829CAABC9F}" srcOrd="1" destOrd="0" presId="urn:microsoft.com/office/officeart/2005/8/layout/pyramid1"/>
    <dgm:cxn modelId="{528A87A1-3719-412B-AC01-7C74DB9E2FC0}" type="presOf" srcId="{441F37F7-B416-4455-8404-19C8B6FDFDCD}" destId="{0AC20C63-CAE9-4200-8107-5C994E7DA34D}" srcOrd="0" destOrd="0" presId="urn:microsoft.com/office/officeart/2005/8/layout/pyramid1"/>
    <dgm:cxn modelId="{E92E27A3-83DE-46BC-B007-EB25B89B2758}" type="presOf" srcId="{84583650-1706-4103-BD08-89619213B698}" destId="{BA27DC3E-F1B1-4098-81E8-EDB115BB910C}" srcOrd="1" destOrd="0" presId="urn:microsoft.com/office/officeart/2005/8/layout/pyramid1"/>
    <dgm:cxn modelId="{49EA9EA4-FC66-413B-87FA-734A6E6F92A2}" type="presOf" srcId="{6B209C20-FD92-4611-BB67-65B104562FEE}" destId="{4A63C1BE-C5B9-484D-8C36-40675BE4ED6C}" srcOrd="0" destOrd="0" presId="urn:microsoft.com/office/officeart/2005/8/layout/pyramid1"/>
    <dgm:cxn modelId="{25191FA5-4221-490D-BE79-521FBDFB5737}" srcId="{0E0904B5-C477-4B71-99AB-C0D5F7E82EC3}" destId="{441F37F7-B416-4455-8404-19C8B6FDFDCD}" srcOrd="0" destOrd="0" parTransId="{0A46F9F9-4890-4EC8-9A19-084A0C4312C4}" sibTransId="{A7FF320D-48B8-49F5-BDC4-2BF66DB4F761}"/>
    <dgm:cxn modelId="{715812A7-FF2D-4F0E-9699-794985E0195B}" type="presOf" srcId="{50183CCA-BBC6-492B-8F83-FA20AD17E09F}" destId="{FCDDEB68-D15D-4E02-8988-1D5010F984D1}" srcOrd="0" destOrd="0" presId="urn:microsoft.com/office/officeart/2005/8/layout/pyramid1"/>
    <dgm:cxn modelId="{D50552C7-2582-4184-8297-F4011BA9364F}" srcId="{0E0904B5-C477-4B71-99AB-C0D5F7E82EC3}" destId="{50183CCA-BBC6-492B-8F83-FA20AD17E09F}" srcOrd="2" destOrd="0" parTransId="{83F318A4-2C73-4079-AB5A-D5C68CBBB8E6}" sibTransId="{3EF11901-E73D-44D1-A948-C651473C4A73}"/>
    <dgm:cxn modelId="{627ACAE0-C11D-4C8F-9319-51371391C086}" type="presOf" srcId="{6B209C20-FD92-4611-BB67-65B104562FEE}" destId="{E45FBF3D-E6FF-49D7-BFEB-99B92EB4A68C}" srcOrd="1" destOrd="0" presId="urn:microsoft.com/office/officeart/2005/8/layout/pyramid1"/>
    <dgm:cxn modelId="{2649AFE1-00CB-49E7-9DF8-1F38CC480733}" type="presOf" srcId="{84583650-1706-4103-BD08-89619213B698}" destId="{21C32F1D-E2ED-4B2C-A96B-774F34A6D8BA}" srcOrd="0" destOrd="0" presId="urn:microsoft.com/office/officeart/2005/8/layout/pyramid1"/>
    <dgm:cxn modelId="{1F81B319-9945-46AB-9C22-E8E66D8D6B5B}" type="presParOf" srcId="{44D3062D-DF91-4645-A7FE-5A0CEFAEA78A}" destId="{F45C2F5D-C299-4D6C-AD89-DA5F439E9ED5}" srcOrd="0" destOrd="0" presId="urn:microsoft.com/office/officeart/2005/8/layout/pyramid1"/>
    <dgm:cxn modelId="{34148B3C-92DA-41D8-93F6-7F460CDD1D78}" type="presParOf" srcId="{F45C2F5D-C299-4D6C-AD89-DA5F439E9ED5}" destId="{0AC20C63-CAE9-4200-8107-5C994E7DA34D}" srcOrd="0" destOrd="0" presId="urn:microsoft.com/office/officeart/2005/8/layout/pyramid1"/>
    <dgm:cxn modelId="{B846BC59-8D59-47C4-ACA1-8358B08CDCCA}" type="presParOf" srcId="{F45C2F5D-C299-4D6C-AD89-DA5F439E9ED5}" destId="{88965FEF-386A-4173-B95A-301B861C0475}" srcOrd="1" destOrd="0" presId="urn:microsoft.com/office/officeart/2005/8/layout/pyramid1"/>
    <dgm:cxn modelId="{6F27844C-031A-4B65-906D-9392D408CF57}" type="presParOf" srcId="{44D3062D-DF91-4645-A7FE-5A0CEFAEA78A}" destId="{9666DDE4-1C27-4BAC-A6FA-61B564DBB4CE}" srcOrd="1" destOrd="0" presId="urn:microsoft.com/office/officeart/2005/8/layout/pyramid1"/>
    <dgm:cxn modelId="{7949B213-08BC-4A33-9B59-29F04CE99D53}" type="presParOf" srcId="{9666DDE4-1C27-4BAC-A6FA-61B564DBB4CE}" destId="{21C32F1D-E2ED-4B2C-A96B-774F34A6D8BA}" srcOrd="0" destOrd="0" presId="urn:microsoft.com/office/officeart/2005/8/layout/pyramid1"/>
    <dgm:cxn modelId="{1E8EDA8B-377B-4FE0-B120-B0948FD72456}" type="presParOf" srcId="{9666DDE4-1C27-4BAC-A6FA-61B564DBB4CE}" destId="{BA27DC3E-F1B1-4098-81E8-EDB115BB910C}" srcOrd="1" destOrd="0" presId="urn:microsoft.com/office/officeart/2005/8/layout/pyramid1"/>
    <dgm:cxn modelId="{C84660DD-4E70-46DE-9D7E-2FED6DA0FB87}" type="presParOf" srcId="{44D3062D-DF91-4645-A7FE-5A0CEFAEA78A}" destId="{7CA3691E-D184-4D1D-8239-6A8D03661CDC}" srcOrd="2" destOrd="0" presId="urn:microsoft.com/office/officeart/2005/8/layout/pyramid1"/>
    <dgm:cxn modelId="{A0B963FF-450B-4E74-A5D4-9A413D4AED62}" type="presParOf" srcId="{7CA3691E-D184-4D1D-8239-6A8D03661CDC}" destId="{FCDDEB68-D15D-4E02-8988-1D5010F984D1}" srcOrd="0" destOrd="0" presId="urn:microsoft.com/office/officeart/2005/8/layout/pyramid1"/>
    <dgm:cxn modelId="{D75CB6E3-0DEC-4199-A1C5-FC43C4A165EC}" type="presParOf" srcId="{7CA3691E-D184-4D1D-8239-6A8D03661CDC}" destId="{704488F0-4D04-4592-BB60-0C829CAABC9F}" srcOrd="1" destOrd="0" presId="urn:microsoft.com/office/officeart/2005/8/layout/pyramid1"/>
    <dgm:cxn modelId="{16D659C4-82B6-4CDD-A230-24605B9CEAFC}" type="presParOf" srcId="{44D3062D-DF91-4645-A7FE-5A0CEFAEA78A}" destId="{BEBF309D-E873-4F4C-98F7-B75DBF99AB17}" srcOrd="3" destOrd="0" presId="urn:microsoft.com/office/officeart/2005/8/layout/pyramid1"/>
    <dgm:cxn modelId="{57EBE19E-6B22-4DF7-81CF-C0C15CC9281A}" type="presParOf" srcId="{BEBF309D-E873-4F4C-98F7-B75DBF99AB17}" destId="{4A63C1BE-C5B9-484D-8C36-40675BE4ED6C}" srcOrd="0" destOrd="0" presId="urn:microsoft.com/office/officeart/2005/8/layout/pyramid1"/>
    <dgm:cxn modelId="{3D0BEC2D-E53D-49E7-B1A9-41562E77700C}" type="presParOf" srcId="{BEBF309D-E873-4F4C-98F7-B75DBF99AB17}" destId="{E45FBF3D-E6FF-49D7-BFEB-99B92EB4A68C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C20C63-CAE9-4200-8107-5C994E7DA34D}">
      <dsp:nvSpPr>
        <dsp:cNvPr id="0" name=""/>
        <dsp:cNvSpPr/>
      </dsp:nvSpPr>
      <dsp:spPr>
        <a:xfrm>
          <a:off x="1150663" y="0"/>
          <a:ext cx="767108" cy="616585"/>
        </a:xfrm>
        <a:prstGeom prst="trapezoid">
          <a:avLst>
            <a:gd name="adj" fmla="val 62206"/>
          </a:avLst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b="1" kern="1200" dirty="0">
            <a:solidFill>
              <a:schemeClr val="bg1"/>
            </a:solidFill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solidFill>
                <a:schemeClr val="bg1"/>
              </a:solidFill>
            </a:rPr>
            <a:t>App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solidFill>
                <a:schemeClr val="bg1"/>
              </a:solidFill>
            </a:rPr>
            <a:t>Controls</a:t>
          </a:r>
        </a:p>
      </dsp:txBody>
      <dsp:txXfrm>
        <a:off x="1150663" y="0"/>
        <a:ext cx="767108" cy="616585"/>
      </dsp:txXfrm>
    </dsp:sp>
    <dsp:sp modelId="{21C32F1D-E2ED-4B2C-A96B-774F34A6D8BA}">
      <dsp:nvSpPr>
        <dsp:cNvPr id="0" name=""/>
        <dsp:cNvSpPr/>
      </dsp:nvSpPr>
      <dsp:spPr>
        <a:xfrm>
          <a:off x="767108" y="616585"/>
          <a:ext cx="1534217" cy="616585"/>
        </a:xfrm>
        <a:prstGeom prst="trapezoid">
          <a:avLst>
            <a:gd name="adj" fmla="val 62206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bg1"/>
              </a:solidFill>
            </a:rPr>
            <a:t>AI Model Controls</a:t>
          </a:r>
        </a:p>
      </dsp:txBody>
      <dsp:txXfrm>
        <a:off x="1035596" y="616585"/>
        <a:ext cx="997241" cy="616585"/>
      </dsp:txXfrm>
    </dsp:sp>
    <dsp:sp modelId="{FCDDEB68-D15D-4E02-8988-1D5010F984D1}">
      <dsp:nvSpPr>
        <dsp:cNvPr id="0" name=""/>
        <dsp:cNvSpPr/>
      </dsp:nvSpPr>
      <dsp:spPr>
        <a:xfrm>
          <a:off x="383554" y="1233171"/>
          <a:ext cx="2301326" cy="616585"/>
        </a:xfrm>
        <a:prstGeom prst="trapezoid">
          <a:avLst>
            <a:gd name="adj" fmla="val 62206"/>
          </a:avLst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bg1"/>
              </a:solidFill>
            </a:rPr>
            <a:t>Data Controls</a:t>
          </a:r>
        </a:p>
      </dsp:txBody>
      <dsp:txXfrm>
        <a:off x="786286" y="1233171"/>
        <a:ext cx="1495862" cy="616585"/>
      </dsp:txXfrm>
    </dsp:sp>
    <dsp:sp modelId="{4A63C1BE-C5B9-484D-8C36-40675BE4ED6C}">
      <dsp:nvSpPr>
        <dsp:cNvPr id="0" name=""/>
        <dsp:cNvSpPr/>
      </dsp:nvSpPr>
      <dsp:spPr>
        <a:xfrm>
          <a:off x="0" y="1849756"/>
          <a:ext cx="3068435" cy="616585"/>
        </a:xfrm>
        <a:prstGeom prst="trapezoid">
          <a:avLst>
            <a:gd name="adj" fmla="val 62206"/>
          </a:avLst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chemeClr val="tx1"/>
              </a:solidFill>
            </a:rPr>
            <a:t>Infrastructure Security Controls</a:t>
          </a:r>
        </a:p>
      </dsp:txBody>
      <dsp:txXfrm>
        <a:off x="536976" y="1849756"/>
        <a:ext cx="1994482" cy="6165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08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1138" y="284163"/>
            <a:ext cx="6553200" cy="3686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None/>
            </a:pPr>
            <a:endParaRPr lang="en-US" sz="1000" dirty="0">
              <a:effectLst/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527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6375" y="228600"/>
            <a:ext cx="6419850" cy="3611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2482903">
              <a:defRPr/>
            </a:pPr>
            <a:endParaRPr lang="en-US" sz="10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2E38B8-B0B4-AD41-AC6E-B781F46A9FD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368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7013" y="231775"/>
            <a:ext cx="6524625" cy="3670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b="0" i="0" u="none" strike="noStrike" dirty="0">
              <a:solidFill>
                <a:srgbClr val="212121"/>
              </a:solidFill>
              <a:effectLst/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93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2E4B97-47D2-F84D-B38D-90044C23DECA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</a:rPr>
              <a:pPr marL="0" marR="0" lvl="0" indent="0" algn="r" defTabSz="18293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642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7.pn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7225A75-F146-2848-A336-654BCE35CB93}"/>
              </a:ext>
            </a:extLst>
          </p:cNvPr>
          <p:cNvSpPr/>
          <p:nvPr userDrawn="1"/>
        </p:nvSpPr>
        <p:spPr>
          <a:xfrm>
            <a:off x="0" y="1"/>
            <a:ext cx="3684722" cy="4765073"/>
          </a:xfrm>
          <a:prstGeom prst="rect">
            <a:avLst/>
          </a:prstGeom>
          <a:solidFill>
            <a:srgbClr val="EEF3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F11EBB9-DC1D-6F42-A0C9-5CCF942B3731}"/>
              </a:ext>
            </a:extLst>
          </p:cNvPr>
          <p:cNvSpPr txBox="1">
            <a:spLocks/>
          </p:cNvSpPr>
          <p:nvPr userDrawn="1"/>
        </p:nvSpPr>
        <p:spPr>
          <a:xfrm>
            <a:off x="8777176" y="4826873"/>
            <a:ext cx="366824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kern="1200">
                <a:solidFill>
                  <a:schemeClr val="tx1"/>
                </a:solidFill>
                <a:latin typeface="Gotham Medium" panose="02000604030000020004" pitchFamily="2" charset="-128"/>
                <a:ea typeface="Gotham Medium" panose="02000604030000020004" pitchFamily="2" charset="-128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F0830F5-D769-8140-A799-2C8E7FA6EA52}" type="slidenum">
              <a:rPr lang="en-US" sz="9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6E8848-5C0B-584E-AEE9-ED02C969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578" y="273845"/>
            <a:ext cx="2886293" cy="823436"/>
          </a:xfrm>
        </p:spPr>
        <p:txBody>
          <a:bodyPr anchor="t"/>
          <a:lstStyle>
            <a:lvl1pPr algn="l">
              <a:defRPr spc="75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onclusion + Contac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110C3F8-0204-4D49-A277-88C1D066D7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87" y="1458885"/>
            <a:ext cx="2880884" cy="286817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6383F64-001E-324B-A455-2F8008FD0065}"/>
              </a:ext>
            </a:extLst>
          </p:cNvPr>
          <p:cNvCxnSpPr/>
          <p:nvPr userDrawn="1"/>
        </p:nvCxnSpPr>
        <p:spPr>
          <a:xfrm>
            <a:off x="440268" y="1224755"/>
            <a:ext cx="1080959" cy="0"/>
          </a:xfrm>
          <a:prstGeom prst="line">
            <a:avLst/>
          </a:prstGeom>
          <a:ln w="12700">
            <a:solidFill>
              <a:srgbClr val="259B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9">
            <a:extLst>
              <a:ext uri="{FF2B5EF4-FFF2-40B4-BE49-F238E27FC236}">
                <a16:creationId xmlns:a16="http://schemas.microsoft.com/office/drawing/2014/main" id="{21E8BDCA-0038-D741-AE95-4BDDA9D7D1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259" y="2328362"/>
            <a:ext cx="4208786" cy="249455"/>
          </a:xfrm>
        </p:spPr>
        <p:txBody>
          <a:bodyPr anchor="ctr">
            <a:normAutofit/>
          </a:bodyPr>
          <a:lstStyle>
            <a:lvl1pPr algn="l">
              <a:defRPr sz="1200" b="1"/>
            </a:lvl1pPr>
          </a:lstStyle>
          <a:p>
            <a:pPr lvl="0"/>
            <a:r>
              <a:rPr lang="en-US" dirty="0"/>
              <a:t>Presenter or Company Name</a:t>
            </a:r>
          </a:p>
        </p:txBody>
      </p:sp>
      <p:sp>
        <p:nvSpPr>
          <p:cNvPr id="23" name="Text Placeholder 49">
            <a:extLst>
              <a:ext uri="{FF2B5EF4-FFF2-40B4-BE49-F238E27FC236}">
                <a16:creationId xmlns:a16="http://schemas.microsoft.com/office/drawing/2014/main" id="{D4607EAB-867F-EE4A-A94E-52864836F5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6259" y="3025589"/>
            <a:ext cx="4208786" cy="255851"/>
          </a:xfrm>
        </p:spPr>
        <p:txBody>
          <a:bodyPr anchor="t">
            <a:normAutofit/>
          </a:bodyPr>
          <a:lstStyle>
            <a:lvl1pPr algn="l">
              <a:defRPr sz="1050" b="0"/>
            </a:lvl1pPr>
          </a:lstStyle>
          <a:p>
            <a:pPr lvl="0"/>
            <a:r>
              <a:rPr lang="en-US" dirty="0"/>
              <a:t>Contact 1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3496DF0A-6BC5-CC44-86A9-555F7ED811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13506" y="281036"/>
            <a:ext cx="2050509" cy="1780536"/>
          </a:xfrm>
          <a:prstGeom prst="rect">
            <a:avLst/>
          </a:prstGeom>
        </p:spPr>
      </p:pic>
      <p:sp>
        <p:nvSpPr>
          <p:cNvPr id="26" name="Picture Placeholder 24">
            <a:extLst>
              <a:ext uri="{FF2B5EF4-FFF2-40B4-BE49-F238E27FC236}">
                <a16:creationId xmlns:a16="http://schemas.microsoft.com/office/drawing/2014/main" id="{A6F5ABE1-5B5B-7D4B-8FFD-219E53BDE869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4445856" y="280530"/>
            <a:ext cx="1775878" cy="1775878"/>
          </a:xfrm>
          <a:prstGeom prst="ellipse">
            <a:avLst/>
          </a:prstGeom>
          <a:ln w="12700">
            <a:solidFill>
              <a:srgbClr val="67FCCF"/>
            </a:solidFill>
          </a:ln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endParaRPr lang="en-US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EB4E06F-D890-6844-9C85-085DC608B916}"/>
              </a:ext>
            </a:extLst>
          </p:cNvPr>
          <p:cNvCxnSpPr>
            <a:cxnSpLocks/>
          </p:cNvCxnSpPr>
          <p:nvPr userDrawn="1"/>
        </p:nvCxnSpPr>
        <p:spPr>
          <a:xfrm>
            <a:off x="4316259" y="2786273"/>
            <a:ext cx="4208786" cy="0"/>
          </a:xfrm>
          <a:prstGeom prst="line">
            <a:avLst/>
          </a:prstGeom>
          <a:ln w="12700">
            <a:solidFill>
              <a:srgbClr val="259B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49">
            <a:extLst>
              <a:ext uri="{FF2B5EF4-FFF2-40B4-BE49-F238E27FC236}">
                <a16:creationId xmlns:a16="http://schemas.microsoft.com/office/drawing/2014/main" id="{1485E5B1-102C-C545-A03E-009BC1B491C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16259" y="3381096"/>
            <a:ext cx="4208786" cy="255851"/>
          </a:xfrm>
        </p:spPr>
        <p:txBody>
          <a:bodyPr anchor="t">
            <a:normAutofit/>
          </a:bodyPr>
          <a:lstStyle>
            <a:lvl1pPr algn="l">
              <a:defRPr sz="1050" b="0"/>
            </a:lvl1pPr>
          </a:lstStyle>
          <a:p>
            <a:pPr lvl="0"/>
            <a:r>
              <a:rPr lang="en-US" dirty="0"/>
              <a:t>Contact 2</a:t>
            </a:r>
          </a:p>
        </p:txBody>
      </p:sp>
      <p:sp>
        <p:nvSpPr>
          <p:cNvPr id="29" name="Text Placeholder 49">
            <a:extLst>
              <a:ext uri="{FF2B5EF4-FFF2-40B4-BE49-F238E27FC236}">
                <a16:creationId xmlns:a16="http://schemas.microsoft.com/office/drawing/2014/main" id="{F5A447C2-C12F-2C4D-B1F3-C7AF56D68D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16259" y="3736602"/>
            <a:ext cx="4208786" cy="255851"/>
          </a:xfrm>
        </p:spPr>
        <p:txBody>
          <a:bodyPr anchor="t">
            <a:normAutofit/>
          </a:bodyPr>
          <a:lstStyle>
            <a:lvl1pPr algn="l">
              <a:defRPr sz="1050" b="0"/>
            </a:lvl1pPr>
          </a:lstStyle>
          <a:p>
            <a:pPr lvl="0"/>
            <a:r>
              <a:rPr lang="en-US" dirty="0"/>
              <a:t>Contact 3</a:t>
            </a:r>
          </a:p>
        </p:txBody>
      </p:sp>
      <p:sp>
        <p:nvSpPr>
          <p:cNvPr id="31" name="Text Placeholder 49">
            <a:extLst>
              <a:ext uri="{FF2B5EF4-FFF2-40B4-BE49-F238E27FC236}">
                <a16:creationId xmlns:a16="http://schemas.microsoft.com/office/drawing/2014/main" id="{093B08CD-FA59-1149-B7CF-A68D5354E7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16259" y="4092109"/>
            <a:ext cx="4208786" cy="255851"/>
          </a:xfrm>
        </p:spPr>
        <p:txBody>
          <a:bodyPr anchor="t">
            <a:normAutofit/>
          </a:bodyPr>
          <a:lstStyle>
            <a:lvl1pPr algn="l">
              <a:defRPr sz="1050" b="0"/>
            </a:lvl1pPr>
          </a:lstStyle>
          <a:p>
            <a:pPr lvl="0"/>
            <a:r>
              <a:rPr lang="en-US" dirty="0"/>
              <a:t>Contact 4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78E75F73-A703-D745-9BF3-83E94AF71E4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754478" y="610193"/>
            <a:ext cx="1593338" cy="1107978"/>
          </a:xfrm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ompany logo</a:t>
            </a:r>
          </a:p>
        </p:txBody>
      </p:sp>
    </p:spTree>
    <p:extLst>
      <p:ext uri="{BB962C8B-B14F-4D97-AF65-F5344CB8AC3E}">
        <p14:creationId xmlns:p14="http://schemas.microsoft.com/office/powerpoint/2010/main" val="34445098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93813" y="4692553"/>
            <a:ext cx="521589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67955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8883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01413" indent="0">
              <a:buNone/>
              <a:defRPr/>
            </a:lvl3pPr>
            <a:lvl4pPr marL="434546" indent="0">
              <a:buNone/>
              <a:defRPr/>
            </a:lvl4pPr>
            <a:lvl5pPr marL="63120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01413" indent="0">
              <a:buNone/>
              <a:defRPr/>
            </a:lvl3pPr>
            <a:lvl4pPr marL="434546" indent="0">
              <a:buNone/>
              <a:defRPr/>
            </a:lvl4pPr>
            <a:lvl5pPr marL="63120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72120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5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59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34681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59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59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15231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59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58599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22409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8770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437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68480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66354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69859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77837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199" b="0" i="0" dirty="0">
              <a:solidFill>
                <a:srgbClr val="FFFFFF"/>
              </a:solidFill>
              <a:latin typeface="IBM Plex Sans" panose="020B0503050203000203" pitchFamily="34" charset="0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9079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0905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88915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52710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4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3634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4572000" cy="2571751"/>
          </a:xfrm>
          <a:solidFill>
            <a:srgbClr val="0530AD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4"/>
            <a:ext cx="4572000" cy="2573337"/>
          </a:xfrm>
          <a:solidFill>
            <a:schemeClr val="tx1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4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3220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2569463"/>
          </a:xfrm>
          <a:noFill/>
        </p:spPr>
        <p:txBody>
          <a:bodyPr lIns="384048" tIns="310896" rIns="384048" bIns="228600"/>
          <a:lstStyle>
            <a:lvl1pPr>
              <a:defRPr sz="479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4"/>
            <a:ext cx="2286000" cy="2573337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4"/>
            <a:ext cx="2286000" cy="2573337"/>
          </a:xfrm>
          <a:solidFill>
            <a:srgbClr val="054ADA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solidFill>
            <a:schemeClr val="accent2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solidFill>
            <a:srgbClr val="6EA6FF"/>
          </a:solidFill>
          <a:ln>
            <a:noFill/>
          </a:ln>
        </p:spPr>
        <p:txBody>
          <a:bodyPr lIns="457200" tIns="384048" rIns="4572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31057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420624" tIns="411480" rIns="420624" bIns="420624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04193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457200" tIns="384048" rIns="4572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999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999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999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9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81159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solidFill>
            <a:schemeClr val="accent2"/>
          </a:solidFill>
        </p:spPr>
        <p:txBody>
          <a:bodyPr lIns="457200" tIns="384048" rIns="4572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solidFill>
            <a:srgbClr val="054ADA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solidFill>
            <a:srgbClr val="0530AD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solidFill>
            <a:srgbClr val="061F80"/>
          </a:solidFill>
        </p:spPr>
        <p:txBody>
          <a:bodyPr lIns="457200" tIns="384048" rIns="4572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40868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31767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91007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16504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398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6234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93684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133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069598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999"/>
            </a:lvl1pPr>
            <a:lvl2pPr marL="0" indent="0">
              <a:spcBef>
                <a:spcPts val="0"/>
              </a:spcBef>
              <a:buNone/>
              <a:defRPr/>
            </a:lvl2pPr>
            <a:lvl3pPr marL="201413" indent="0">
              <a:buNone/>
              <a:defRPr/>
            </a:lvl3pPr>
            <a:lvl4pPr marL="434546" indent="0">
              <a:buNone/>
              <a:defRPr/>
            </a:lvl4pPr>
            <a:lvl5pPr marL="63120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599"/>
            </a:lvl1pPr>
            <a:lvl2pPr>
              <a:defRPr sz="599"/>
            </a:lvl2pPr>
            <a:lvl3pPr>
              <a:defRPr sz="599"/>
            </a:lvl3pPr>
            <a:lvl4pPr>
              <a:defRPr sz="599"/>
            </a:lvl4pPr>
            <a:lvl5pPr>
              <a:defRPr sz="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4355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3196" y="2312885"/>
            <a:ext cx="1297608" cy="517732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91702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4500563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3431" cy="2358033"/>
          </a:xfrm>
        </p:spPr>
        <p:txBody>
          <a:bodyPr/>
          <a:lstStyle>
            <a:lvl1pPr>
              <a:lnSpc>
                <a:spcPct val="100000"/>
              </a:lnSpc>
              <a:defRPr sz="3224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EC0ABF4-1C51-BF7D-70CF-DD2C38C9DB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0332" y="4536035"/>
            <a:ext cx="1857134" cy="428625"/>
          </a:xfrm>
          <a:prstGeom prst="rect">
            <a:avLst/>
          </a:prstGeom>
        </p:spPr>
        <p:txBody>
          <a:bodyPr anchor="b"/>
          <a:lstStyle>
            <a:lvl1pPr defTabSz="435396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069D4BA-0EE4-89E6-7C3A-71F71400A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95820" y="4500563"/>
            <a:ext cx="1857134" cy="464097"/>
          </a:xfrm>
          <a:prstGeom prst="rect">
            <a:avLst/>
          </a:prstGeom>
        </p:spPr>
        <p:txBody>
          <a:bodyPr anchor="b"/>
          <a:lstStyle>
            <a:lvl1pPr defTabSz="435396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13631987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9144000" cy="4500563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3428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525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4143431" cy="1715096"/>
          </a:xfrm>
        </p:spPr>
        <p:txBody>
          <a:bodyPr/>
          <a:lstStyle>
            <a:lvl1pPr>
              <a:lnSpc>
                <a:spcPct val="100000"/>
              </a:lnSpc>
              <a:defRPr sz="3224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14509F-3705-A705-C5B3-FA435C246A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0332" y="4536035"/>
            <a:ext cx="1857134" cy="428625"/>
          </a:xfrm>
          <a:prstGeom prst="rect">
            <a:avLst/>
          </a:prstGeom>
        </p:spPr>
        <p:txBody>
          <a:bodyPr anchor="b"/>
          <a:lstStyle>
            <a:lvl1pPr defTabSz="435396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F264794-39E6-B78D-2E92-D8D02F9188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95820" y="4500563"/>
            <a:ext cx="1857134" cy="464097"/>
          </a:xfrm>
          <a:prstGeom prst="rect">
            <a:avLst/>
          </a:prstGeom>
        </p:spPr>
        <p:txBody>
          <a:bodyPr anchor="b"/>
          <a:lstStyle>
            <a:lvl1pPr defTabSz="435396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58734538"/>
      </p:ext>
    </p:extLst>
  </p:cSld>
  <p:clrMapOvr>
    <a:masterClrMapping/>
  </p:clrMapOvr>
  <p:transition spd="med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4143431" cy="1715096"/>
          </a:xfrm>
        </p:spPr>
        <p:txBody>
          <a:bodyPr/>
          <a:lstStyle>
            <a:lvl1pPr>
              <a:lnSpc>
                <a:spcPct val="100000"/>
              </a:lnSpc>
              <a:defRPr sz="3224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2643233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3431" cy="1715096"/>
          </a:xfrm>
        </p:spPr>
        <p:txBody>
          <a:bodyPr/>
          <a:lstStyle>
            <a:lvl1pPr>
              <a:lnSpc>
                <a:spcPct val="100000"/>
              </a:lnSpc>
              <a:defRPr sz="3224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5999" y="4673727"/>
            <a:ext cx="4143431" cy="28575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1980949"/>
      </p:ext>
    </p:extLst>
  </p:cSld>
  <p:clrMapOvr>
    <a:masterClrMapping/>
  </p:clrMapOvr>
  <p:transition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5690" y="213718"/>
            <a:ext cx="4142836" cy="471547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3787409" cy="3929658"/>
          </a:xfrm>
        </p:spPr>
        <p:txBody>
          <a:bodyPr/>
          <a:lstStyle>
            <a:lvl1pPr>
              <a:lnSpc>
                <a:spcPct val="100000"/>
              </a:lnSpc>
              <a:defRPr sz="3224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2793146"/>
      </p:ext>
    </p:extLst>
  </p:cSld>
  <p:clrMapOvr>
    <a:masterClrMapping/>
  </p:clrMapOvr>
  <p:transition spd="med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5690" y="213718"/>
            <a:ext cx="4142836" cy="471547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572643"/>
            <a:ext cx="3786885" cy="3501629"/>
          </a:xfrm>
        </p:spPr>
        <p:txBody>
          <a:bodyPr/>
          <a:lstStyle>
            <a:lvl1pPr>
              <a:lnSpc>
                <a:spcPct val="100000"/>
              </a:lnSpc>
              <a:defRPr sz="3224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5999" y="144450"/>
            <a:ext cx="3786885" cy="214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0154248"/>
      </p:ext>
    </p:extLst>
  </p:cSld>
  <p:clrMapOvr>
    <a:masterClrMapping/>
  </p:clrMapOvr>
  <p:transition spd="med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1858324" cy="1715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5689" y="213718"/>
            <a:ext cx="1857134" cy="4286846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324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815CA4A-82C6-E038-8C80-CF4A54B1E6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61845" y="213717"/>
            <a:ext cx="1857134" cy="4286846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324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29460128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3431" cy="1072158"/>
          </a:xfrm>
        </p:spPr>
        <p:txBody>
          <a:bodyPr rIns="457200"/>
          <a:lstStyle>
            <a:lvl1pPr>
              <a:lnSpc>
                <a:spcPct val="100000"/>
              </a:lnSpc>
              <a:defRPr sz="3224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633434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475" y="144450"/>
            <a:ext cx="6427348" cy="3071813"/>
          </a:xfrm>
        </p:spPr>
        <p:txBody>
          <a:bodyPr/>
          <a:lstStyle>
            <a:lvl1pPr>
              <a:lnSpc>
                <a:spcPct val="100000"/>
              </a:lnSpc>
              <a:defRPr sz="644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376829"/>
      </p:ext>
    </p:extLst>
  </p:cSld>
  <p:clrMapOvr>
    <a:masterClrMapping/>
  </p:clrMapOvr>
  <p:transition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3715457" cy="1072158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9D4AF5E-3E60-06F1-E3E3-F00E3ADA90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5273" y="144019"/>
            <a:ext cx="4152728" cy="3215282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24434038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5497591" cy="3643908"/>
          </a:xfrm>
        </p:spPr>
        <p:txBody>
          <a:bodyPr/>
          <a:lstStyle>
            <a:lvl1pPr>
              <a:lnSpc>
                <a:spcPct val="100000"/>
              </a:lnSpc>
              <a:defRPr sz="3224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626071"/>
      </p:ext>
    </p:extLst>
  </p:cSld>
  <p:clrMapOvr>
    <a:masterClrMapping/>
  </p:clrMapOvr>
  <p:transition spd="med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5972" y="3486150"/>
            <a:ext cx="4143431" cy="1328738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673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4597" y="3486150"/>
            <a:ext cx="4142836" cy="1328738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673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4572000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01B1D3B-7FD1-5342-AD21-86B27FCC12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5476" y="144450"/>
            <a:ext cx="2861693" cy="2358033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E2A6217-C3F0-04CD-0266-C53A5C85FDE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84598" y="144450"/>
            <a:ext cx="2861693" cy="2358033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79988216"/>
      </p:ext>
    </p:extLst>
  </p:cSld>
  <p:clrMapOvr>
    <a:masterClrMapping/>
  </p:clrMapOvr>
  <p:transition spd="med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476" y="144450"/>
            <a:ext cx="1855943" cy="71497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4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1392" y="144451"/>
            <a:ext cx="1855943" cy="71378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4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9987" y="144450"/>
            <a:ext cx="1856538" cy="7154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4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072158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4516041"/>
            <a:ext cx="1856538" cy="42862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54853" indent="-54853"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09706" indent="-54853"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164559" indent="-54853"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874901"/>
            <a:ext cx="1856538" cy="362739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89" y="874901"/>
            <a:ext cx="1857134" cy="36250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1" y="874901"/>
            <a:ext cx="1857134" cy="36250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569441"/>
      </p:ext>
    </p:extLst>
  </p:cSld>
  <p:clrMapOvr>
    <a:masterClrMapping/>
  </p:clrMapOvr>
  <p:transition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13094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475" y="144450"/>
            <a:ext cx="1855943" cy="2000846"/>
          </a:xfrm>
        </p:spPr>
        <p:txBody>
          <a:bodyPr/>
          <a:lstStyle>
            <a:lvl1pPr>
              <a:lnSpc>
                <a:spcPct val="100000"/>
              </a:lnSpc>
              <a:defRPr sz="3224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144450"/>
            <a:ext cx="4142836" cy="200084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24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>
              <a:lnSpc>
                <a:spcPct val="100000"/>
              </a:lnSpc>
              <a:spcBef>
                <a:spcPts val="0"/>
              </a:spcBef>
              <a:defRPr sz="3224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>
              <a:lnSpc>
                <a:spcPct val="100000"/>
              </a:lnSpc>
              <a:spcBef>
                <a:spcPts val="0"/>
              </a:spcBef>
              <a:defRPr sz="3224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>
              <a:lnSpc>
                <a:spcPct val="100000"/>
              </a:lnSpc>
              <a:spcBef>
                <a:spcPts val="0"/>
              </a:spcBef>
              <a:defRPr sz="3224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24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475" y="2428875"/>
            <a:ext cx="1855943" cy="2000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24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defRPr sz="3224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3224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3224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3224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99987" y="2428875"/>
            <a:ext cx="4142836" cy="2000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24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>
              <a:lnSpc>
                <a:spcPct val="100000"/>
              </a:lnSpc>
              <a:spcBef>
                <a:spcPts val="0"/>
              </a:spcBef>
              <a:defRPr sz="3224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>
              <a:lnSpc>
                <a:spcPct val="100000"/>
              </a:lnSpc>
              <a:spcBef>
                <a:spcPts val="0"/>
              </a:spcBef>
              <a:defRPr sz="3224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>
              <a:lnSpc>
                <a:spcPct val="100000"/>
              </a:lnSpc>
              <a:spcBef>
                <a:spcPts val="0"/>
              </a:spcBef>
              <a:defRPr sz="3224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24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734435"/>
      </p:ext>
    </p:extLst>
  </p:cSld>
  <p:clrMapOvr>
    <a:masterClrMapping/>
  </p:clrMapOvr>
  <p:transition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2499987" y="3071813"/>
            <a:ext cx="6428538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2499987" y="1500188"/>
            <a:ext cx="6428538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9987" y="144450"/>
            <a:ext cx="1856538" cy="107215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4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072158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4516041"/>
            <a:ext cx="1856538" cy="42862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89" y="144450"/>
            <a:ext cx="2857128" cy="107215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89" y="1570482"/>
            <a:ext cx="2857128" cy="107156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89" y="3151251"/>
            <a:ext cx="2857128" cy="107156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99987" y="1570482"/>
            <a:ext cx="1856538" cy="107156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4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99988" y="3151251"/>
            <a:ext cx="1856537" cy="107156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4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800389"/>
      </p:ext>
    </p:extLst>
  </p:cSld>
  <p:clrMapOvr>
    <a:masterClrMapping/>
  </p:clrMapOvr>
  <p:transition spd="med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303799C-055C-81A5-3E36-D78912AA66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97B3A71-6FB0-4C14-4695-68801FBBBE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023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C1273EB-3A3E-B282-A619-1D6FB102B1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0367260-BF8E-C847-2296-4EAD779F01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63621041"/>
      </p:ext>
    </p:extLst>
  </p:cSld>
  <p:clrMapOvr>
    <a:masterClrMapping/>
  </p:clrMapOvr>
  <p:transition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987" y="144450"/>
            <a:ext cx="1858324" cy="57209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68567" indent="-68567">
              <a:lnSpc>
                <a:spcPct val="10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37132" indent="-68567">
              <a:lnSpc>
                <a:spcPct val="10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05699" indent="-68567">
              <a:lnSpc>
                <a:spcPct val="10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1285875"/>
            <a:ext cx="0" cy="32146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4570262" y="1285875"/>
            <a:ext cx="0" cy="32164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6857108" y="1285875"/>
            <a:ext cx="0" cy="32164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E03333F-C9F4-9C57-BAAE-A49EA523AF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F3321C6-7CF8-EF30-4736-48A201B094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023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AC67FA0E-EA85-0950-FCC7-3F6BF1A741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67605-D889-6D38-2F1B-DF58E809AC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5254021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987" y="216027"/>
            <a:ext cx="1858324" cy="57209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5993" indent="-9599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1986" indent="-9599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7978" indent="-9599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89" y="216027"/>
            <a:ext cx="1857134" cy="57209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5993" indent="-9599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1986" indent="-9599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7978" indent="-9599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7"/>
            <a:ext cx="1859514" cy="57209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5993" indent="-9599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1986" indent="-9599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7978" indent="-9599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2285702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6857108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9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4F49B39-EB32-770F-5644-D3D938710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D25B5E4-5513-DB6F-04BF-4A2A85E857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C86775E-92B8-3897-2210-2993F34BA62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37193551"/>
      </p:ext>
    </p:extLst>
  </p:cSld>
  <p:clrMapOvr>
    <a:masterClrMapping/>
  </p:clrMapOvr>
  <p:transition spd="med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786408"/>
          </a:xfrm>
        </p:spPr>
        <p:txBody>
          <a:bodyPr/>
          <a:lstStyle>
            <a:lvl1pPr>
              <a:lnSpc>
                <a:spcPct val="100000"/>
              </a:lnSpc>
              <a:defRPr sz="10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1285875"/>
            <a:ext cx="1858324" cy="15001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499987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0509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071392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2285702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6857108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CEA9C7F-1CB2-B0B0-AE4C-171B0AFC6E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4D72D8-0638-1E42-6480-21D9CF7A440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6DDCC2C-4DA8-F28F-9BBF-ACD120C05B4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32139412"/>
      </p:ext>
    </p:extLst>
  </p:cSld>
  <p:clrMapOvr>
    <a:masterClrMapping/>
  </p:clrMapOvr>
  <p:transition spd="med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1855943" cy="428030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416" y="144018"/>
            <a:ext cx="1858324" cy="428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 sz="1050"/>
            </a:lvl2pPr>
            <a:lvl3pPr>
              <a:spcBef>
                <a:spcPts val="0"/>
              </a:spcBef>
              <a:defRPr sz="1050"/>
            </a:lvl3pPr>
            <a:lvl4pPr>
              <a:spcBef>
                <a:spcPts val="0"/>
              </a:spcBef>
              <a:defRPr sz="1050"/>
            </a:lvl4pPr>
            <a:lvl5pPr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98038E-FA9A-2E7F-DE4F-45D37F116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B3FDBEC-0A0D-82A4-F347-00CE8AD711B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76586" y="1285875"/>
            <a:ext cx="3818444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16267907"/>
      </p:ext>
    </p:extLst>
  </p:cSld>
  <p:clrMapOvr>
    <a:masterClrMapping/>
  </p:clrMapOvr>
  <p:transition spd="med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2783985" cy="714971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77FA90-E771-AC82-090E-6FBBAE2633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5"/>
            <a:ext cx="3818444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3C39AE1-8603-84DA-CC2F-0C36A1C9D1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5999" y="1285875"/>
            <a:ext cx="3818444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03271208"/>
      </p:ext>
    </p:extLst>
  </p:cSld>
  <p:clrMapOvr>
    <a:masterClrMapping/>
  </p:clrMapOvr>
  <p:transition spd="med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4141645" cy="1715096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3A4153E-E96A-682A-6ADB-86D8329C1B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0174" y="144016"/>
            <a:ext cx="1861229" cy="4286846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AA778F7-DDE5-2F6E-F5FA-F5B0F120E06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66773" y="144018"/>
            <a:ext cx="1861229" cy="428684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00092973"/>
      </p:ext>
    </p:extLst>
  </p:cSld>
  <p:clrMapOvr>
    <a:masterClrMapping/>
  </p:clrMapOvr>
  <p:transition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8" y="144450"/>
            <a:ext cx="1857134" cy="1715096"/>
          </a:xfrm>
        </p:spPr>
        <p:txBody>
          <a:bodyPr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38C4317-85BF-2C36-29AD-9974CF6DE9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0174" y="144016"/>
            <a:ext cx="1861229" cy="4286846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1D0A98E-CDEF-685C-25C7-E4EA3AFDCD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66773" y="144018"/>
            <a:ext cx="1861229" cy="428684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71816445"/>
      </p:ext>
    </p:extLst>
  </p:cSld>
  <p:clrMapOvr>
    <a:masterClrMapping/>
  </p:clrMapOvr>
  <p:transition spd="med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4139264" cy="1715096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401EF50-EF95-0C87-38FD-2E0B9FD3E3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793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7715D83-2EB0-631E-31DF-DAE49EE105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6"/>
            <a:ext cx="1861229" cy="321468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2EE4CB5-8991-123D-EBF8-1ED34CC50FE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94793" y="144018"/>
            <a:ext cx="1861229" cy="572096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4ACB30C-F320-75FA-F4BC-8A4103FF2F3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66773" y="144018"/>
            <a:ext cx="1861229" cy="572096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63681809"/>
      </p:ext>
    </p:extLst>
  </p:cSld>
  <p:clrMapOvr>
    <a:masterClrMapping/>
  </p:clrMapOvr>
  <p:transition spd="med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715096"/>
          </a:xfrm>
        </p:spPr>
        <p:txBody>
          <a:bodyPr rIns="0"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320D13A-B2E3-8109-F9A4-70AB45A14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793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74BDB94-1ECF-14DA-1C2A-F289E665E0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6"/>
            <a:ext cx="1861229" cy="321468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6E55AA2-DCD0-9227-A831-24FD27E4CB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94793" y="144018"/>
            <a:ext cx="1861229" cy="572096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8FF2718-83A0-A416-2862-0D743963623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66773" y="144018"/>
            <a:ext cx="1861229" cy="572096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20007224"/>
      </p:ext>
    </p:extLst>
  </p:cSld>
  <p:clrMapOvr>
    <a:masterClrMapping/>
  </p:clrMapOvr>
  <p:transition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9"/>
            <a:ext cx="1855943" cy="428030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00607" y="144018"/>
            <a:ext cx="1858324" cy="428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050"/>
            </a:lvl2pPr>
            <a:lvl3pPr>
              <a:lnSpc>
                <a:spcPct val="90000"/>
              </a:lnSpc>
              <a:spcBef>
                <a:spcPts val="0"/>
              </a:spcBef>
              <a:defRPr sz="1050"/>
            </a:lvl3pPr>
            <a:lvl4pPr>
              <a:lnSpc>
                <a:spcPct val="90000"/>
              </a:lnSpc>
              <a:spcBef>
                <a:spcPts val="0"/>
              </a:spcBef>
              <a:defRPr sz="1050"/>
            </a:lvl4pPr>
            <a:lvl5pPr>
              <a:lnSpc>
                <a:spcPct val="90000"/>
              </a:lnSpc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85690" y="216028"/>
            <a:ext cx="455998" cy="455423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071392" y="216027"/>
            <a:ext cx="456632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4570262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6857108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6703E2E-EBF0-C866-7278-E844AFCB3A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D2030D9-4E2C-5A41-AC60-E9DAA791E3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473B493-1BC7-D878-AEAA-C60A2D67B76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6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12512897"/>
      </p:ext>
    </p:extLst>
  </p:cSld>
  <p:clrMapOvr>
    <a:masterClrMapping/>
  </p:clrMapOvr>
  <p:transition spd="med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99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85690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15999" y="2427732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85690" y="2428875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4571405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13094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E4E8AF0-4192-FB86-9702-8592B301CAB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0190" y="921222"/>
            <a:ext cx="2501177" cy="115046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5744FFC-849B-8FBD-FF73-B21942BA0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85691" y="921223"/>
            <a:ext cx="2501177" cy="1150463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0A13E8E-060C-6E01-AB11-41A2190116B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16000" y="3135786"/>
            <a:ext cx="2501177" cy="1150462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277838E-5792-202A-65F5-342AF0992EF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1501" y="3135786"/>
            <a:ext cx="2501177" cy="1150460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572551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630936"/>
            <a:ext cx="2142846" cy="853821"/>
          </a:xfrm>
        </p:spPr>
        <p:txBody>
          <a:bodyPr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6000" y="144450"/>
            <a:ext cx="1858324" cy="428030"/>
          </a:xfrm>
          <a:prstGeom prst="rect">
            <a:avLst/>
          </a:prstGeom>
        </p:spPr>
        <p:txBody>
          <a:bodyPr/>
          <a:lstStyle>
            <a:lvl1pPr>
              <a:defRPr sz="10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FBB383F-F59D-AEC8-4D6C-AC28926B09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053B001-EDB1-FA28-FFB0-F41FF2D331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48988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D8F0E9F-03CA-D8CD-75A1-CB650A81E9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2389" y="2500313"/>
            <a:ext cx="1861229" cy="185737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16D24DB-6F94-3A9D-70FD-B96C2E9E8D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2500313"/>
            <a:ext cx="1861229" cy="185737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4391631"/>
      </p:ext>
    </p:extLst>
  </p:cSld>
  <p:clrMapOvr>
    <a:masterClrMapping/>
  </p:clrMapOvr>
  <p:transition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572643"/>
            <a:ext cx="4141051" cy="853821"/>
          </a:xfrm>
        </p:spPr>
        <p:txBody>
          <a:bodyPr rIns="457200"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6000" y="144450"/>
            <a:ext cx="1858324" cy="1680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EE7923F-2C08-E17F-72B0-F41C361C53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F52302E-5C35-DCB5-2D11-CC0BE75371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48988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4BCD2A-7E42-10EE-E251-907F955BFC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2389" y="2500313"/>
            <a:ext cx="1861229" cy="185737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EF5B836-0687-FE12-9EE1-7B2CB11245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2500313"/>
            <a:ext cx="1861229" cy="185737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61602002"/>
      </p:ext>
    </p:extLst>
  </p:cSld>
  <p:clrMapOvr>
    <a:masterClrMapping/>
  </p:clrMapOvr>
  <p:transition spd="med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450"/>
            <a:ext cx="1858324" cy="1715096"/>
          </a:xfrm>
        </p:spPr>
        <p:txBody>
          <a:bodyPr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32141B-6D8C-ADDD-8D24-D2B36038138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2389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DBD6A3D-FB96-6A97-1F58-F61F03D3769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54BA88F-5BD8-839D-33E8-DAC02350A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10189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BCA7C7E-4E8C-6B73-007A-21635527B0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86788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17764430"/>
      </p:ext>
    </p:extLst>
  </p:cSld>
  <p:clrMapOvr>
    <a:masterClrMapping/>
  </p:clrMapOvr>
  <p:transition spd="med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4143431" cy="1715096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340CDF-396E-8FEA-9F33-A868AEB7DE6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2389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4B77E5-DBD6-E6DD-D620-C878361A7B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83D79D-159D-684B-A0A2-E6DD61C3A5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10189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50B9EEB-A8EA-2744-D650-EC7233DAFF4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86788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15126406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715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4FE312-96C3-0801-8AFE-48C53A3855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FE072FD-410A-B1CF-4BD5-EFE459133B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48988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C0822F6-B969-1E92-CC74-0CBB1126A9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72389" y="2500313"/>
            <a:ext cx="1861229" cy="185737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AB4B51-7CBC-4B83-F837-82517C33FE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48988" y="2500313"/>
            <a:ext cx="1861229" cy="185737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B00072-45AF-510F-C146-BAC3B20406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99416" y="216027"/>
            <a:ext cx="1861229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4503F3E-D426-7E9E-BDBD-CDA2B73193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99416" y="2500312"/>
            <a:ext cx="1861229" cy="185737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51457440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072158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99987" y="216027"/>
            <a:ext cx="150857" cy="151210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85690" y="216027"/>
            <a:ext cx="150857" cy="151210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1392" y="216027"/>
            <a:ext cx="150857" cy="151210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499987" y="2510487"/>
            <a:ext cx="150857" cy="151210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785690" y="2510487"/>
            <a:ext cx="150857" cy="151210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071392" y="2510487"/>
            <a:ext cx="150857" cy="151210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3" y="2286000"/>
            <a:ext cx="664520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2285702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6857108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0784E564-F094-C65E-4C30-6AD26FD6AE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535279"/>
            <a:ext cx="1861229" cy="1393531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B384162-F420-216E-B250-BA49ED23A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535279"/>
            <a:ext cx="1861229" cy="1393529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D5D50EC-56AE-CB68-AF0D-967D997C2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72389" y="2819563"/>
            <a:ext cx="1861229" cy="1395246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5DF0382-EAC2-42E6-8F3C-D78D997011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048988" y="2819563"/>
            <a:ext cx="1861229" cy="139524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D63E7DA-FA91-79CE-F137-C4CFF42378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99416" y="535278"/>
            <a:ext cx="1861229" cy="1393531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03E415E0-33AF-4F69-4718-A13AF38331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499416" y="2819563"/>
            <a:ext cx="1861229" cy="139524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27738688"/>
      </p:ext>
    </p:extLst>
  </p:cSld>
  <p:clrMapOvr>
    <a:masterClrMapping/>
  </p:clrMapOvr>
  <p:transition spd="med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39264" cy="1279922"/>
          </a:xfrm>
        </p:spPr>
        <p:txBody>
          <a:bodyPr rIns="457200"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5476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2286000"/>
            <a:ext cx="0" cy="221456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6857108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22EB5F78-B3F7-EBA1-BE53-B96CA397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BFFEAD4C-1129-22EA-9ED5-9BE409A0C7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48988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91719EAC-72ED-B4B5-CA48-EB23C5EB8B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72389" y="2500313"/>
            <a:ext cx="1861229" cy="185737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8C9C88E-05A2-25E3-4571-C794E968D7F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48988" y="2500313"/>
            <a:ext cx="1861229" cy="185737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D76302BE-E896-F153-8F88-B63A433B5C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15476" y="2499741"/>
            <a:ext cx="1861229" cy="1857943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FF14BC99-A0C2-45B6-C1F6-84D3EACEDF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99416" y="2500312"/>
            <a:ext cx="1861229" cy="185737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84146708"/>
      </p:ext>
    </p:extLst>
  </p:cSld>
  <p:clrMapOvr>
    <a:masterClrMapping/>
  </p:clrMapOvr>
  <p:transition spd="med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1"/>
            <a:ext cx="1855943" cy="1279922"/>
          </a:xfrm>
        </p:spPr>
        <p:txBody>
          <a:bodyPr rIns="0"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5476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2286000"/>
            <a:ext cx="0" cy="221456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6857108" y="21371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6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BA90B24-A7AA-EE26-4DF0-B0850F874CC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6977" y="2499741"/>
            <a:ext cx="1884557" cy="1857944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293E5F0-8E0D-8611-485C-03E54EE01C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496947" y="2499742"/>
            <a:ext cx="1884557" cy="1857941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5B5649-C746-EAC6-E506-88A5EE6297F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71407" y="2513033"/>
            <a:ext cx="1884557" cy="184464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1C336AE-32DC-6A3D-A0A5-FD3BEEE59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6007" y="2499741"/>
            <a:ext cx="1866798" cy="185793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8F4A404-A74C-F889-564A-6677AB4E33D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53665" y="216028"/>
            <a:ext cx="1866798" cy="1929407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D20BC60-A254-2972-5466-846B4E395A1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59020" y="216028"/>
            <a:ext cx="1866798" cy="192940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8844826"/>
      </p:ext>
    </p:extLst>
  </p:cSld>
  <p:clrMapOvr>
    <a:masterClrMapping/>
  </p:clrMapOvr>
  <p:transition spd="med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5690" y="213718"/>
            <a:ext cx="4142836" cy="471547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06977" y="1285875"/>
            <a:ext cx="1864441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00583" y="1285875"/>
            <a:ext cx="1864441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41020470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8149" y="4839236"/>
            <a:ext cx="100376" cy="92333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85703" y="0"/>
            <a:ext cx="6858298" cy="51435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581521-9341-A586-10B8-D3CD3EBBADF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6977" y="1285875"/>
            <a:ext cx="1864441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36480074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8149" y="4839236"/>
            <a:ext cx="100376" cy="92333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99988" y="211933"/>
            <a:ext cx="6430919" cy="4717256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71C2C-D5EE-B66A-FC5F-45245937D13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1123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51132418"/>
      </p:ext>
    </p:extLst>
  </p:cSld>
  <p:clrMapOvr>
    <a:masterClrMapping/>
  </p:clrMapOvr>
  <p:transition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7536" y="4839236"/>
            <a:ext cx="100989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741743204"/>
      </p:ext>
    </p:extLst>
  </p:cSld>
  <p:clrMapOvr>
    <a:masterClrMapping/>
  </p:clrMapOvr>
  <p:transition spd="med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7536" y="4839236"/>
            <a:ext cx="100989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13094" y="213718"/>
            <a:ext cx="8715431" cy="47178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42049458"/>
      </p:ext>
    </p:extLst>
  </p:cSld>
  <p:clrMapOvr>
    <a:masterClrMapping/>
  </p:clrMapOvr>
  <p:transition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16000" y="2293920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16000" y="357187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16000" y="982078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783309" y="229552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783309" y="357187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783309" y="100012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BD9F85F-FC85-6E91-ADD3-38F0F5BEE2E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786214" y="2293920"/>
            <a:ext cx="872968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8FF7CC5C-A250-D817-B1E6-EBD584F08B1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786214" y="3571875"/>
            <a:ext cx="872968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416EBE0-0E9C-366F-583C-0BE751DA2B3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786214" y="992277"/>
            <a:ext cx="872968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4C60C05-9B2E-E5AA-E325-3B56BC1B45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255946" y="982078"/>
            <a:ext cx="2158405" cy="94673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5379598-B132-493E-3A4A-13641BF453F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255946" y="2293922"/>
            <a:ext cx="2158405" cy="92261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387A7EC-6D77-1F31-248D-AF22142944D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255945" y="3571875"/>
            <a:ext cx="2191073" cy="92261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79C6738A-ED82-E7BB-C9BF-8057E77ED4B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783210" y="2304121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24967257-4251-A48B-9DE6-F07EC4EC036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83210" y="358207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4A6B1635-0D2E-93F5-D353-C9B1B58E7780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783210" y="992277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0541A3D3-1296-6D28-80F6-210E0C86167C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783210" y="2311969"/>
            <a:ext cx="859041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EE31C9DF-6A33-F9E3-7394-0B59091621E3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783210" y="3589922"/>
            <a:ext cx="859041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CAAA857-D33B-2769-F70D-96215C29A41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783210" y="1000125"/>
            <a:ext cx="859041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3412D36A-B5BE-A294-20DF-30B55A06C5A9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823155" y="1000125"/>
            <a:ext cx="2191073" cy="94673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ED900610-36FC-D7DA-7651-CC7E3D3200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823155" y="2311969"/>
            <a:ext cx="2191073" cy="92261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BFEAE0F0-F94C-F405-C850-B3545368F69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823155" y="3589923"/>
            <a:ext cx="2191073" cy="922615"/>
          </a:xfrm>
          <a:prstGeom prst="rect">
            <a:avLst/>
          </a:prstGeom>
        </p:spPr>
        <p:txBody>
          <a:bodyPr/>
          <a:lstStyle>
            <a:lvl1pPr defTabSz="435396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25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01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826" indent="-122825" defTabSz="435396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396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15339497"/>
      </p:ext>
    </p:extLst>
  </p:cSld>
  <p:clrMapOvr>
    <a:masterClrMapping/>
  </p:clrMapOvr>
  <p:transition spd="med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715096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2499987" y="213718"/>
            <a:ext cx="6428538" cy="4286846"/>
          </a:xfrm>
          <a:prstGeom prst="rect">
            <a:avLst/>
          </a:prstGeom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505526"/>
      </p:ext>
    </p:extLst>
  </p:cSld>
  <p:clrMapOvr>
    <a:masterClrMapping/>
  </p:clrMapOvr>
  <p:transition spd="med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000" y="144450"/>
            <a:ext cx="1858324" cy="107215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3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23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23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3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1391" y="213718"/>
            <a:ext cx="1857134" cy="428684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54853" indent="-5485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06" indent="-5485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59" indent="-5485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913614"/>
      </p:ext>
    </p:extLst>
  </p:cSld>
  <p:clrMapOvr>
    <a:masterClrMapping/>
  </p:clrMapOvr>
  <p:transition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643"/>
          </a:xfrm>
        </p:spPr>
        <p:txBody>
          <a:bodyPr/>
          <a:lstStyle>
            <a:lvl1pPr>
              <a:lnSpc>
                <a:spcPct val="100000"/>
              </a:lnSpc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931287"/>
      </p:ext>
    </p:extLst>
  </p:cSld>
  <p:clrMapOvr>
    <a:masterClrMapping/>
  </p:clrMapOvr>
  <p:transition spd="med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000" y="144450"/>
            <a:ext cx="1858324" cy="107215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399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399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2399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2399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399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1391" y="213718"/>
            <a:ext cx="1857134" cy="428684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54853" indent="-5485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06" indent="-5485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59" indent="-5485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17856" y="4801791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5689" y="213718"/>
            <a:ext cx="1857134" cy="428684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54853" indent="-5485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06" indent="-5485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59" indent="-5485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5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615663"/>
      </p:ext>
    </p:extLst>
  </p:cSld>
  <p:clrMapOvr>
    <a:masterClrMapping/>
  </p:clrMapOvr>
  <p:transition spd="med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4004" y="2313173"/>
            <a:ext cx="1295993" cy="517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672266"/>
      </p:ext>
    </p:extLst>
  </p:cSld>
  <p:clrMapOvr>
    <a:masterClrMapping/>
  </p:clrMapOvr>
  <p:transition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itle Onl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BM Security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2" y="4852064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0B3920-51F3-EF1E-1DC4-C87B7DB328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216027"/>
            <a:ext cx="4355406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552772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9144000" cy="450056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2358033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4533139"/>
            <a:ext cx="1851467" cy="428625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1488" y="4531778"/>
            <a:ext cx="1851467" cy="428625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389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670539"/>
      </p:ext>
    </p:extLst>
  </p:cSld>
  <p:clrMapOvr>
    <a:masterClrMapping/>
  </p:clrMapOvr>
  <p:transition spd="med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1"/>
            <a:ext cx="9144000" cy="4500563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525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1715095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4533139"/>
            <a:ext cx="1851467" cy="428625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1488" y="4531778"/>
            <a:ext cx="1851467" cy="428625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389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105427"/>
      </p:ext>
    </p:extLst>
  </p:cSld>
  <p:clrMapOvr>
    <a:masterClrMapping/>
  </p:clrMapOvr>
  <p:transition spd="med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1715095"/>
          </a:xfrm>
        </p:spPr>
        <p:txBody>
          <a:bodyPr/>
          <a:lstStyle>
            <a:lvl1pPr>
              <a:lnSpc>
                <a:spcPct val="100000"/>
              </a:lnSpc>
              <a:defRPr sz="322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389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96999"/>
      </p:ext>
    </p:extLst>
  </p:cSld>
  <p:clrMapOvr>
    <a:masterClrMapping/>
  </p:clrMapOvr>
  <p:transition spd="med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1715095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000" y="4673727"/>
            <a:ext cx="4143431" cy="28575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389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460497"/>
      </p:ext>
    </p:extLst>
  </p:cSld>
  <p:clrMapOvr>
    <a:masterClrMapping/>
  </p:clrMapOvr>
  <p:transition spd="med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5690" y="213719"/>
            <a:ext cx="4142836" cy="471547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3787409" cy="3929658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66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42583"/>
      </p:ext>
    </p:extLst>
  </p:cSld>
  <p:clrMapOvr>
    <a:masterClrMapping/>
  </p:clrMapOvr>
  <p:transition spd="med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5690" y="213719"/>
            <a:ext cx="4142836" cy="471547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630936"/>
            <a:ext cx="3786885" cy="3501628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5999" y="216027"/>
            <a:ext cx="3786885" cy="214313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66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601952"/>
      </p:ext>
    </p:extLst>
  </p:cSld>
  <p:clrMapOvr>
    <a:masterClrMapping/>
  </p:clrMapOvr>
  <p:transition spd="med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1858324" cy="1715095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5690" y="213719"/>
            <a:ext cx="1857133" cy="4286845"/>
          </a:xfrm>
        </p:spPr>
        <p:txBody>
          <a:bodyPr/>
          <a:lstStyle>
            <a:lvl1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72583" y="213719"/>
            <a:ext cx="1855943" cy="4286845"/>
          </a:xfrm>
        </p:spPr>
        <p:txBody>
          <a:bodyPr/>
          <a:lstStyle>
            <a:lvl1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942625"/>
      </p:ext>
    </p:extLst>
  </p:cSld>
  <p:clrMapOvr>
    <a:masterClrMapping/>
  </p:clrMapOvr>
  <p:transition spd="med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4143431" cy="1072158"/>
          </a:xfrm>
        </p:spPr>
        <p:txBody>
          <a:bodyPr rIns="457200"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506223"/>
      </p:ext>
    </p:extLst>
  </p:cSld>
  <p:clrMapOvr>
    <a:masterClrMapping/>
  </p:clrMapOvr>
  <p:transition spd="med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476" y="157735"/>
            <a:ext cx="6427347" cy="3071813"/>
          </a:xfrm>
        </p:spPr>
        <p:txBody>
          <a:bodyPr/>
          <a:lstStyle>
            <a:lvl1pPr>
              <a:defRPr sz="6450" b="0" i="0">
                <a:solidFill>
                  <a:schemeClr val="tx2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46426"/>
      </p:ext>
    </p:extLst>
  </p:cSld>
  <p:clrMapOvr>
    <a:masterClrMapping/>
  </p:clrMapOvr>
  <p:transition spd="med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3715457" cy="1072158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097" y="168022"/>
            <a:ext cx="4140238" cy="321528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 marL="219451" indent="-219451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 marL="411470" indent="-219451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 marL="658352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687708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57734"/>
            <a:ext cx="5497590" cy="3643908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615831"/>
      </p:ext>
    </p:extLst>
  </p:cSld>
  <p:clrMapOvr>
    <a:masterClrMapping/>
  </p:clrMapOvr>
  <p:transition spd="med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6000" y="3487294"/>
            <a:ext cx="4143431" cy="1328738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9675" b="0" i="0">
                <a:solidFill>
                  <a:schemeClr val="accent1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5690" y="3486151"/>
            <a:ext cx="4142836" cy="1328738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9675" b="0" i="0">
                <a:solidFill>
                  <a:schemeClr val="accent1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5689" y="216028"/>
            <a:ext cx="2857128" cy="23580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216028"/>
            <a:ext cx="2858318" cy="23580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4572000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29723"/>
      </p:ext>
    </p:extLst>
  </p:cSld>
  <p:clrMapOvr>
    <a:masterClrMapping/>
  </p:clrMapOvr>
  <p:transition spd="med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476" y="159931"/>
            <a:ext cx="1855943" cy="714971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1393" y="161121"/>
            <a:ext cx="1855943" cy="713780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9987" y="161164"/>
            <a:ext cx="1856538" cy="715467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7"/>
            <a:ext cx="1855943" cy="1072158"/>
          </a:xfrm>
        </p:spPr>
        <p:txBody>
          <a:bodyPr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4516042"/>
            <a:ext cx="1856538" cy="428625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54863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5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88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874901"/>
            <a:ext cx="1856538" cy="362739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875496"/>
            <a:ext cx="1857133" cy="362506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3" y="874901"/>
            <a:ext cx="1857133" cy="362506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999917"/>
      </p:ext>
    </p:extLst>
  </p:cSld>
  <p:clrMapOvr>
    <a:masterClrMapping/>
  </p:clrMapOvr>
  <p:transition spd="med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13095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476" y="150877"/>
            <a:ext cx="1855943" cy="2000846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150877"/>
            <a:ext cx="4142836" cy="200084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1pPr>
            <a:lvl2pPr marL="294887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2pPr>
            <a:lvl3pPr marL="562342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3pPr>
            <a:lvl4pPr marL="857228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476" y="2428875"/>
            <a:ext cx="1855943" cy="2000250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99987" y="2428875"/>
            <a:ext cx="4142836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1pPr>
            <a:lvl2pPr marL="294887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2pPr>
            <a:lvl3pPr marL="562342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3pPr>
            <a:lvl4pPr marL="857228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781396"/>
      </p:ext>
    </p:extLst>
  </p:cSld>
  <p:clrMapOvr>
    <a:masterClrMapping/>
  </p:clrMapOvr>
  <p:transition spd="med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2499987" y="3071813"/>
            <a:ext cx="6428538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2499987" y="1500188"/>
            <a:ext cx="6428538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9987" y="154305"/>
            <a:ext cx="1856538" cy="1072158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7"/>
            <a:ext cx="1855943" cy="1072158"/>
          </a:xfrm>
        </p:spPr>
        <p:txBody>
          <a:bodyPr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4516042"/>
            <a:ext cx="1856538" cy="428625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89" y="216027"/>
            <a:ext cx="2857128" cy="107215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89" y="1643063"/>
            <a:ext cx="2857128" cy="107156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89" y="3214688"/>
            <a:ext cx="2857128" cy="107156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99987" y="1570483"/>
            <a:ext cx="1856538" cy="1071565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99989" y="3151252"/>
            <a:ext cx="1856537" cy="1071565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99387"/>
      </p:ext>
    </p:extLst>
  </p:cSld>
  <p:clrMapOvr>
    <a:masterClrMapping/>
  </p:clrMapOvr>
  <p:transition spd="med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1285876"/>
            <a:ext cx="1858324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2" y="1285876"/>
            <a:ext cx="1859514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839619"/>
      </p:ext>
    </p:extLst>
  </p:cSld>
  <p:clrMapOvr>
    <a:masterClrMapping/>
  </p:clrMapOvr>
  <p:transition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2" y="1285876"/>
            <a:ext cx="185951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987" y="216028"/>
            <a:ext cx="185832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7261" y="1285876"/>
            <a:ext cx="1856538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1285876"/>
            <a:ext cx="0" cy="32146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4570262" y="1285875"/>
            <a:ext cx="0" cy="32164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6857107" y="1285875"/>
            <a:ext cx="0" cy="32164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832982"/>
      </p:ext>
    </p:extLst>
  </p:cSld>
  <p:clrMapOvr>
    <a:masterClrMapping/>
  </p:clrMapOvr>
  <p:transition spd="med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2" y="1285876"/>
            <a:ext cx="1859514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987" y="216028"/>
            <a:ext cx="185832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6028"/>
            <a:ext cx="1857133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8"/>
            <a:ext cx="185951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2285702" y="213719"/>
            <a:ext cx="0" cy="4286845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605263"/>
      </p:ext>
    </p:extLst>
  </p:cSld>
  <p:clrMapOvr>
    <a:masterClrMapping/>
  </p:clrMapOvr>
  <p:transition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7"/>
            <a:ext cx="1855943" cy="786408"/>
          </a:xfrm>
        </p:spPr>
        <p:txBody>
          <a:bodyPr/>
          <a:lstStyle>
            <a:lvl1pPr>
              <a:lnSpc>
                <a:spcPct val="110000"/>
              </a:lnSpc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1285876"/>
            <a:ext cx="1858324" cy="15001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7389" y="1285876"/>
            <a:ext cx="185305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3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499987" y="216028"/>
            <a:ext cx="455998" cy="456057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0508" y="216028"/>
            <a:ext cx="455998" cy="456057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071393" y="216028"/>
            <a:ext cx="455998" cy="456057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2285702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999407"/>
      </p:ext>
    </p:extLst>
  </p:cSld>
  <p:clrMapOvr>
    <a:masterClrMapping/>
  </p:clrMapOvr>
  <p:transition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1855943" cy="428030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1285876"/>
            <a:ext cx="3785695" cy="3214688"/>
          </a:xfrm>
        </p:spPr>
        <p:txBody>
          <a:bodyPr/>
          <a:lstStyle>
            <a:lvl1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417" y="144019"/>
            <a:ext cx="1858324" cy="4280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050"/>
            </a:lvl2pPr>
            <a:lvl3pPr>
              <a:spcBef>
                <a:spcPts val="0"/>
              </a:spcBef>
              <a:defRPr sz="1050"/>
            </a:lvl3pPr>
            <a:lvl4pPr>
              <a:spcBef>
                <a:spcPts val="0"/>
              </a:spcBef>
              <a:defRPr sz="1050"/>
            </a:lvl4pPr>
            <a:lvl5pPr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396814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216028"/>
            <a:ext cx="2783985" cy="714971"/>
          </a:xfrm>
        </p:spPr>
        <p:txBody>
          <a:bodyPr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5999" y="1285876"/>
            <a:ext cx="3786885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90" y="1285876"/>
            <a:ext cx="3785695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583657"/>
      </p:ext>
    </p:extLst>
  </p:cSld>
  <p:clrMapOvr>
    <a:masterClrMapping/>
  </p:clrMapOvr>
  <p:transition spd="med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1645" cy="171509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5690" y="216028"/>
            <a:ext cx="1857133" cy="4286845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71393" y="216028"/>
            <a:ext cx="1857133" cy="4286845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109977"/>
      </p:ext>
    </p:extLst>
  </p:cSld>
  <p:clrMapOvr>
    <a:masterClrMapping/>
  </p:clrMapOvr>
  <p:transition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216028"/>
            <a:ext cx="1857133" cy="1715095"/>
          </a:xfrm>
        </p:spPr>
        <p:txBody>
          <a:bodyPr/>
          <a:lstStyle>
            <a:lvl1pPr>
              <a:lnSpc>
                <a:spcPct val="10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5690" y="213719"/>
            <a:ext cx="1857133" cy="4286845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71393" y="213719"/>
            <a:ext cx="1857133" cy="4286845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17097"/>
      </p:ext>
    </p:extLst>
  </p:cSld>
  <p:clrMapOvr>
    <a:masterClrMapping/>
  </p:clrMapOvr>
  <p:transition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9"/>
            <a:ext cx="4139265" cy="171509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6028"/>
            <a:ext cx="1857133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8"/>
            <a:ext cx="185951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2583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359538"/>
      </p:ext>
    </p:extLst>
  </p:cSld>
  <p:clrMapOvr>
    <a:masterClrMapping/>
  </p:clrMapOvr>
  <p:transition spd="med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1715095"/>
          </a:xfrm>
        </p:spPr>
        <p:txBody>
          <a:bodyPr rIns="0"/>
          <a:lstStyle>
            <a:lvl1pPr>
              <a:lnSpc>
                <a:spcPct val="10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6028"/>
            <a:ext cx="1857133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8"/>
            <a:ext cx="185951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3774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803170"/>
      </p:ext>
    </p:extLst>
  </p:cSld>
  <p:clrMapOvr>
    <a:masterClrMapping/>
  </p:clrMapOvr>
  <p:transition spd="med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1855943" cy="428030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7242" y="1285876"/>
            <a:ext cx="1857133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2943" y="1285876"/>
            <a:ext cx="1859514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00607" y="144019"/>
            <a:ext cx="1858324" cy="4280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050"/>
            </a:lvl2pPr>
            <a:lvl3pPr>
              <a:lnSpc>
                <a:spcPct val="90000"/>
              </a:lnSpc>
              <a:spcBef>
                <a:spcPts val="0"/>
              </a:spcBef>
              <a:defRPr sz="1050"/>
            </a:lvl3pPr>
            <a:lvl4pPr>
              <a:lnSpc>
                <a:spcPct val="90000"/>
              </a:lnSpc>
              <a:spcBef>
                <a:spcPts val="0"/>
              </a:spcBef>
              <a:defRPr sz="1050"/>
            </a:lvl4pPr>
            <a:lvl5pPr>
              <a:lnSpc>
                <a:spcPct val="90000"/>
              </a:lnSpc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85690" y="216028"/>
            <a:ext cx="455998" cy="455423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071393" y="216028"/>
            <a:ext cx="456632" cy="456057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4570262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068462"/>
      </p:ext>
    </p:extLst>
  </p:cSld>
  <p:clrMapOvr>
    <a:masterClrMapping/>
  </p:clrMapOvr>
  <p:transition spd="med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929259"/>
            <a:ext cx="2501177" cy="1143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89" y="928688"/>
            <a:ext cx="2499987" cy="1143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5999" y="3144393"/>
            <a:ext cx="2501178" cy="1143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91" y="3143250"/>
            <a:ext cx="2499987" cy="1143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6000" y="216028"/>
            <a:ext cx="455998" cy="456057"/>
          </a:xfrm>
        </p:spPr>
        <p:txBody>
          <a:bodyPr anchor="ctr"/>
          <a:lstStyle>
            <a:lvl1pPr algn="ctr">
              <a:defRPr sz="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85690" y="216028"/>
            <a:ext cx="455998" cy="456057"/>
          </a:xfrm>
        </p:spPr>
        <p:txBody>
          <a:bodyPr anchor="ctr"/>
          <a:lstStyle>
            <a:lvl1pPr algn="ctr">
              <a:defRPr sz="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16000" y="2427733"/>
            <a:ext cx="455998" cy="456057"/>
          </a:xfrm>
        </p:spPr>
        <p:txBody>
          <a:bodyPr anchor="ctr"/>
          <a:lstStyle>
            <a:lvl1pPr algn="ctr">
              <a:defRPr sz="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85690" y="2428876"/>
            <a:ext cx="455998" cy="456057"/>
          </a:xfrm>
        </p:spPr>
        <p:txBody>
          <a:bodyPr anchor="ctr"/>
          <a:lstStyle>
            <a:lvl1pPr algn="ctr">
              <a:defRPr sz="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4571405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13095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71561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630937"/>
            <a:ext cx="2142846" cy="853821"/>
          </a:xfrm>
        </p:spPr>
        <p:txBody>
          <a:bodyPr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6262" y="216027"/>
            <a:ext cx="1857133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7"/>
            <a:ext cx="1859514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1393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6000" y="216028"/>
            <a:ext cx="1858324" cy="428030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369848"/>
      </p:ext>
    </p:extLst>
  </p:cSld>
  <p:clrMapOvr>
    <a:masterClrMapping/>
  </p:clrMapOvr>
  <p:transition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572644"/>
            <a:ext cx="4141050" cy="853821"/>
          </a:xfrm>
        </p:spPr>
        <p:txBody>
          <a:bodyPr rIns="457200"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3717"/>
            <a:ext cx="1857133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3717"/>
            <a:ext cx="1859514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1393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6000" y="216028"/>
            <a:ext cx="1858324" cy="168021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493306"/>
      </p:ext>
    </p:extLst>
  </p:cSld>
  <p:clrMapOvr>
    <a:masterClrMapping/>
  </p:clrMapOvr>
  <p:transition spd="med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8324" cy="1715095"/>
          </a:xfrm>
        </p:spPr>
        <p:txBody>
          <a:bodyPr/>
          <a:lstStyle>
            <a:lvl1pPr>
              <a:lnSpc>
                <a:spcPct val="10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2496313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8391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7288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3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892309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171509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2496313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00772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7288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3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638243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1715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6027"/>
            <a:ext cx="1857133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7"/>
            <a:ext cx="1859514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1393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499417" y="216027"/>
            <a:ext cx="1857133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0607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939150"/>
      </p:ext>
    </p:extLst>
  </p:cSld>
  <p:clrMapOvr>
    <a:masterClrMapping/>
  </p:clrMapOvr>
  <p:transition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7"/>
            <a:ext cx="1855943" cy="1072158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500063"/>
            <a:ext cx="1856538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91" y="500063"/>
            <a:ext cx="1857133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71393" y="500063"/>
            <a:ext cx="1857133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99987" y="2786063"/>
            <a:ext cx="1856538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85690" y="2786063"/>
            <a:ext cx="1856538" cy="142225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71393" y="2786063"/>
            <a:ext cx="1857133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99987" y="21602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85690" y="21602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1393" y="21602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499987" y="251048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785690" y="251048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071393" y="251048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4" y="2286000"/>
            <a:ext cx="664520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2285702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332324"/>
      </p:ext>
    </p:extLst>
  </p:cSld>
  <p:clrMapOvr>
    <a:masterClrMapping/>
  </p:clrMapOvr>
  <p:transition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39264" cy="1279922"/>
          </a:xfrm>
        </p:spPr>
        <p:txBody>
          <a:bodyPr rIns="457200"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90" y="216027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72583" y="216027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90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72583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5999" y="2499741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99988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5476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2286001"/>
            <a:ext cx="0" cy="221456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442414"/>
      </p:ext>
    </p:extLst>
  </p:cSld>
  <p:clrMapOvr>
    <a:masterClrMapping/>
  </p:clrMapOvr>
  <p:transition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1279922"/>
          </a:xfrm>
        </p:spPr>
        <p:txBody>
          <a:bodyPr rIns="0"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90" y="216027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72583" y="216027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90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72583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7533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99988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5476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2286001"/>
            <a:ext cx="0" cy="221456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347245"/>
      </p:ext>
    </p:extLst>
  </p:cSld>
  <p:clrMapOvr>
    <a:masterClrMapping/>
  </p:clrMapOvr>
  <p:transition spd="med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1285876"/>
            <a:ext cx="185832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5690" y="213719"/>
            <a:ext cx="4142836" cy="471547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925519790"/>
      </p:ext>
    </p:extLst>
  </p:cSld>
  <p:clrMapOvr>
    <a:masterClrMapping/>
  </p:clrMapOvr>
  <p:transition spd="med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5934" y="4839236"/>
            <a:ext cx="102592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6000" y="1285876"/>
            <a:ext cx="185832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85703" y="0"/>
            <a:ext cx="6858298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133466008"/>
      </p:ext>
    </p:extLst>
  </p:cSld>
  <p:clrMapOvr>
    <a:masterClrMapping/>
  </p:clrMapOvr>
  <p:transition spd="med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5934" y="4839236"/>
            <a:ext cx="102592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1285876"/>
            <a:ext cx="185832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99988" y="211933"/>
            <a:ext cx="6430919" cy="471725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862472760"/>
      </p:ext>
    </p:extLst>
  </p:cSld>
  <p:clrMapOvr>
    <a:masterClrMapping/>
  </p:clrMapOvr>
  <p:transition spd="med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5934" y="4839236"/>
            <a:ext cx="102592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928724700"/>
      </p:ext>
    </p:extLst>
  </p:cSld>
  <p:clrMapOvr>
    <a:masterClrMapping/>
  </p:clrMapOvr>
  <p:transition spd="med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5934" y="4839236"/>
            <a:ext cx="102592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13095" y="213718"/>
            <a:ext cx="8715431" cy="47178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048555230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16000" y="2295526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85709" y="2295526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16000" y="3571876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85709" y="3571876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16000" y="1000125"/>
            <a:ext cx="927376" cy="92868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285709" y="1000125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783309" y="2295526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855923" y="2295526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783309" y="3571876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55923" y="3571876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783309" y="1000125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855923" y="1000125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490670"/>
      </p:ext>
    </p:extLst>
  </p:cSld>
  <p:clrMapOvr>
    <a:masterClrMapping/>
  </p:clrMapOvr>
  <p:transition spd="med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1715095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2499987" y="213719"/>
            <a:ext cx="6428538" cy="4286845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949119"/>
      </p:ext>
    </p:extLst>
  </p:cSld>
  <p:clrMapOvr>
    <a:masterClrMapping/>
  </p:clrMapOvr>
  <p:transition spd="med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000" y="144018"/>
            <a:ext cx="1858324" cy="107215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1393" y="213719"/>
            <a:ext cx="1857133" cy="4286845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54863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5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88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692989"/>
      </p:ext>
    </p:extLst>
  </p:cSld>
  <p:clrMapOvr>
    <a:masterClrMapping/>
  </p:clrMapOvr>
  <p:transition spd="med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000" y="144018"/>
            <a:ext cx="1858324" cy="107215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1393" y="213719"/>
            <a:ext cx="1857133" cy="4286845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54863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5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88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17857" y="4801792"/>
            <a:ext cx="1858324" cy="1428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5690" y="213719"/>
            <a:ext cx="1857133" cy="4286845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54863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5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88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203429"/>
      </p:ext>
    </p:extLst>
  </p:cSld>
  <p:clrMapOvr>
    <a:masterClrMapping/>
  </p:clrMapOvr>
  <p:transition spd="med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643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301306"/>
      </p:ext>
    </p:extLst>
  </p:cSld>
  <p:clrMapOvr>
    <a:masterClrMapping/>
  </p:clrMapOvr>
  <p:transition spd="med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4004" y="2313173"/>
            <a:ext cx="1295993" cy="517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587848"/>
      </p:ext>
    </p:extLst>
  </p:cSld>
  <p:clrMapOvr>
    <a:masterClrMapping/>
  </p:clrMapOvr>
  <p:transition spd="med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over Slide">
    <p:bg>
      <p:bgPr>
        <a:gradFill flip="none" rotWithShape="1">
          <a:gsLst>
            <a:gs pos="0">
              <a:schemeClr val="accent1"/>
            </a:gs>
            <a:gs pos="100000">
              <a:srgbClr val="000000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Title Text"/>
          <p:cNvSpPr txBox="1">
            <a:spLocks noGrp="1"/>
          </p:cNvSpPr>
          <p:nvPr>
            <p:ph type="title"/>
          </p:nvPr>
        </p:nvSpPr>
        <p:spPr>
          <a:xfrm>
            <a:off x="228601" y="203781"/>
            <a:ext cx="4114802" cy="447934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Title Text</a:t>
            </a:r>
          </a:p>
        </p:txBody>
      </p:sp>
      <p:pic>
        <p:nvPicPr>
          <p:cNvPr id="336" name="Picture 5" descr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1" y="241303"/>
            <a:ext cx="521590" cy="211455"/>
          </a:xfrm>
          <a:prstGeom prst="rect">
            <a:avLst/>
          </a:prstGeom>
          <a:ln w="12700">
            <a:miter lim="400000"/>
          </a:ln>
        </p:spPr>
      </p:pic>
      <p:pic>
        <p:nvPicPr>
          <p:cNvPr id="337" name="Picture 13" descr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10747" y="4604933"/>
            <a:ext cx="1574104" cy="398968"/>
          </a:xfrm>
          <a:prstGeom prst="rect">
            <a:avLst/>
          </a:prstGeom>
          <a:ln w="12700">
            <a:miter lim="400000"/>
          </a:ln>
        </p:spPr>
      </p:pic>
      <p:pic>
        <p:nvPicPr>
          <p:cNvPr id="338" name="BCK_PEG_[01].png" descr="BCK_PEG_[01]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7302" y="1621623"/>
            <a:ext cx="2149405" cy="190025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0042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7D9FBD7-A794-8A41-BF45-0DE9CC1510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10"/>
            <a:ext cx="9144000" cy="5135880"/>
          </a:xfrm>
          <a:prstGeom prst="rect">
            <a:avLst/>
          </a:prstGeom>
        </p:spPr>
      </p:pic>
      <p:sp>
        <p:nvSpPr>
          <p:cNvPr id="8" name="Title">
            <a:extLst>
              <a:ext uri="{FF2B5EF4-FFF2-40B4-BE49-F238E27FC236}">
                <a16:creationId xmlns:a16="http://schemas.microsoft.com/office/drawing/2014/main" id="{F6EEF3B7-1A42-4949-9E4E-287DD2F39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CE443607-A076-2445-8F20-2DCAF811E4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68" y="4787903"/>
            <a:ext cx="4114735" cy="166687"/>
          </a:xfrm>
        </p:spPr>
        <p:txBody>
          <a:bodyPr/>
          <a:lstStyle/>
          <a:p>
            <a:r>
              <a:rPr lang="en-US" dirty="0"/>
              <a:t>© 2022 IBM Corpor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7CC0D2E-1CA6-2C49-914B-E48F29C13D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3817" y="4692553"/>
            <a:ext cx="527111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652723"/>
      </p:ext>
    </p:extLst>
  </p:cSld>
  <p:clrMapOvr>
    <a:masterClrMapping/>
  </p:clrMapOvr>
  <p:transition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8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4" y="4705254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228599"/>
      </p:ext>
    </p:extLst>
  </p:cSld>
  <p:clrMapOvr>
    <a:masterClrMapping/>
  </p:clrMapOvr>
  <p:transition spd="med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8" y="459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4" y="4705254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837266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4" y="4705254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09747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0048D475-47B3-4D6A-8967-CE571DD44B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68" y="4787902"/>
            <a:ext cx="4114735" cy="166687"/>
          </a:xfrm>
        </p:spPr>
        <p:txBody>
          <a:bodyPr/>
          <a:lstStyle>
            <a:lvl1pPr algn="l">
              <a:defRPr sz="600"/>
            </a:lvl1pPr>
          </a:lstStyle>
          <a:p>
            <a:r>
              <a:rPr lang="en-US"/>
              <a:t>IBM Cloud / © 2021 IBM Corporation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E245D785-3444-4F9C-B13D-7B2A4CB46C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12741" y="4862256"/>
            <a:ext cx="102593" cy="92333"/>
          </a:xfrm>
        </p:spPr>
        <p:txBody>
          <a:bodyPr/>
          <a:lstStyle>
            <a:lvl1pPr algn="r">
              <a:defRPr sz="600"/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39160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7225A75-F146-2848-A336-654BCE35CB93}"/>
              </a:ext>
            </a:extLst>
          </p:cNvPr>
          <p:cNvSpPr/>
          <p:nvPr userDrawn="1"/>
        </p:nvSpPr>
        <p:spPr>
          <a:xfrm>
            <a:off x="0" y="1"/>
            <a:ext cx="3684722" cy="5143499"/>
          </a:xfrm>
          <a:prstGeom prst="rect">
            <a:avLst/>
          </a:prstGeom>
          <a:solidFill>
            <a:srgbClr val="EEF3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F11EBB9-DC1D-6F42-A0C9-5CCF942B3731}"/>
              </a:ext>
            </a:extLst>
          </p:cNvPr>
          <p:cNvSpPr txBox="1">
            <a:spLocks/>
          </p:cNvSpPr>
          <p:nvPr userDrawn="1"/>
        </p:nvSpPr>
        <p:spPr>
          <a:xfrm>
            <a:off x="8777176" y="4826873"/>
            <a:ext cx="366824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kern="1200">
                <a:solidFill>
                  <a:schemeClr val="tx1"/>
                </a:solidFill>
                <a:latin typeface="Gotham Medium" panose="02000604030000020004" pitchFamily="2" charset="-128"/>
                <a:ea typeface="Gotham Medium" panose="02000604030000020004" pitchFamily="2" charset="-128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5F0830F5-D769-8140-A799-2C8E7FA6EA52}" type="slidenum">
              <a:rPr lang="en-US" sz="9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/>
              <a:t>‹#›</a:t>
            </a:fld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B6E8848-5C0B-584E-AEE9-ED02C969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578" y="273845"/>
            <a:ext cx="2886293" cy="823436"/>
          </a:xfrm>
        </p:spPr>
        <p:txBody>
          <a:bodyPr anchor="t"/>
          <a:lstStyle>
            <a:lvl1pPr algn="l">
              <a:defRPr spc="75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onclusion + Contac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110C3F8-0204-4D49-A277-88C1D066D7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987" y="1458885"/>
            <a:ext cx="2880884" cy="286817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49">
            <a:extLst>
              <a:ext uri="{FF2B5EF4-FFF2-40B4-BE49-F238E27FC236}">
                <a16:creationId xmlns:a16="http://schemas.microsoft.com/office/drawing/2014/main" id="{21E8BDCA-0038-D741-AE95-4BDDA9D7D1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259" y="2328362"/>
            <a:ext cx="4208786" cy="249455"/>
          </a:xfrm>
        </p:spPr>
        <p:txBody>
          <a:bodyPr anchor="ctr">
            <a:normAutofit/>
          </a:bodyPr>
          <a:lstStyle>
            <a:lvl1pPr algn="l">
              <a:defRPr sz="1200" b="1"/>
            </a:lvl1pPr>
          </a:lstStyle>
          <a:p>
            <a:pPr lvl="0"/>
            <a:r>
              <a:rPr lang="en-US" dirty="0"/>
              <a:t>Presenter or Company Name</a:t>
            </a:r>
          </a:p>
        </p:txBody>
      </p:sp>
      <p:sp>
        <p:nvSpPr>
          <p:cNvPr id="23" name="Text Placeholder 49">
            <a:extLst>
              <a:ext uri="{FF2B5EF4-FFF2-40B4-BE49-F238E27FC236}">
                <a16:creationId xmlns:a16="http://schemas.microsoft.com/office/drawing/2014/main" id="{D4607EAB-867F-EE4A-A94E-52864836F5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6259" y="3025589"/>
            <a:ext cx="4208786" cy="255851"/>
          </a:xfrm>
        </p:spPr>
        <p:txBody>
          <a:bodyPr anchor="t">
            <a:normAutofit/>
          </a:bodyPr>
          <a:lstStyle>
            <a:lvl1pPr algn="l">
              <a:defRPr sz="1050" b="0"/>
            </a:lvl1pPr>
          </a:lstStyle>
          <a:p>
            <a:pPr lvl="0"/>
            <a:r>
              <a:rPr lang="en-US" dirty="0"/>
              <a:t>Contact 1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EB4E06F-D890-6844-9C85-085DC608B916}"/>
              </a:ext>
            </a:extLst>
          </p:cNvPr>
          <p:cNvCxnSpPr>
            <a:cxnSpLocks/>
          </p:cNvCxnSpPr>
          <p:nvPr userDrawn="1"/>
        </p:nvCxnSpPr>
        <p:spPr>
          <a:xfrm>
            <a:off x="4316259" y="2786273"/>
            <a:ext cx="4208786" cy="0"/>
          </a:xfrm>
          <a:prstGeom prst="line">
            <a:avLst/>
          </a:prstGeom>
          <a:ln w="12700">
            <a:solidFill>
              <a:srgbClr val="259B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49">
            <a:extLst>
              <a:ext uri="{FF2B5EF4-FFF2-40B4-BE49-F238E27FC236}">
                <a16:creationId xmlns:a16="http://schemas.microsoft.com/office/drawing/2014/main" id="{1485E5B1-102C-C545-A03E-009BC1B491C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16259" y="3381096"/>
            <a:ext cx="4208786" cy="255851"/>
          </a:xfrm>
        </p:spPr>
        <p:txBody>
          <a:bodyPr anchor="t">
            <a:normAutofit/>
          </a:bodyPr>
          <a:lstStyle>
            <a:lvl1pPr algn="l">
              <a:defRPr sz="1050" b="0"/>
            </a:lvl1pPr>
          </a:lstStyle>
          <a:p>
            <a:pPr lvl="0"/>
            <a:r>
              <a:rPr lang="en-US" dirty="0"/>
              <a:t>Contact 2</a:t>
            </a:r>
          </a:p>
        </p:txBody>
      </p:sp>
      <p:sp>
        <p:nvSpPr>
          <p:cNvPr id="29" name="Text Placeholder 49">
            <a:extLst>
              <a:ext uri="{FF2B5EF4-FFF2-40B4-BE49-F238E27FC236}">
                <a16:creationId xmlns:a16="http://schemas.microsoft.com/office/drawing/2014/main" id="{F5A447C2-C12F-2C4D-B1F3-C7AF56D68D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16259" y="3736602"/>
            <a:ext cx="4208786" cy="255851"/>
          </a:xfrm>
        </p:spPr>
        <p:txBody>
          <a:bodyPr anchor="t">
            <a:normAutofit/>
          </a:bodyPr>
          <a:lstStyle>
            <a:lvl1pPr algn="l">
              <a:defRPr sz="1050" b="0"/>
            </a:lvl1pPr>
          </a:lstStyle>
          <a:p>
            <a:pPr lvl="0"/>
            <a:r>
              <a:rPr lang="en-US" dirty="0"/>
              <a:t>Contact 3</a:t>
            </a:r>
          </a:p>
        </p:txBody>
      </p:sp>
      <p:sp>
        <p:nvSpPr>
          <p:cNvPr id="31" name="Text Placeholder 49">
            <a:extLst>
              <a:ext uri="{FF2B5EF4-FFF2-40B4-BE49-F238E27FC236}">
                <a16:creationId xmlns:a16="http://schemas.microsoft.com/office/drawing/2014/main" id="{093B08CD-FA59-1149-B7CF-A68D5354E7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16259" y="4092109"/>
            <a:ext cx="4208786" cy="255851"/>
          </a:xfrm>
        </p:spPr>
        <p:txBody>
          <a:bodyPr anchor="t">
            <a:normAutofit/>
          </a:bodyPr>
          <a:lstStyle>
            <a:lvl1pPr algn="l">
              <a:defRPr sz="1050" b="0"/>
            </a:lvl1pPr>
          </a:lstStyle>
          <a:p>
            <a:pPr lvl="0"/>
            <a:r>
              <a:rPr lang="en-US" dirty="0"/>
              <a:t>Contact 4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78E75F73-A703-D745-9BF3-83E94AF71E4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754478" y="610193"/>
            <a:ext cx="1593338" cy="1107978"/>
          </a:xfrm>
          <a:ln>
            <a:noFill/>
          </a:ln>
        </p:spPr>
        <p:txBody>
          <a:bodyPr anchor="ctr">
            <a:norm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ompany logo</a:t>
            </a:r>
          </a:p>
        </p:txBody>
      </p:sp>
    </p:spTree>
    <p:extLst>
      <p:ext uri="{BB962C8B-B14F-4D97-AF65-F5344CB8AC3E}">
        <p14:creationId xmlns:p14="http://schemas.microsoft.com/office/powerpoint/2010/main" val="233865712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22605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93812" y="4692553"/>
            <a:ext cx="521589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49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8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97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3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227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23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931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91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0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92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006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37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16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ue 60 rectangle">
            <a:extLst>
              <a:ext uri="{FF2B5EF4-FFF2-40B4-BE49-F238E27FC236}">
                <a16:creationId xmlns:a16="http://schemas.microsoft.com/office/drawing/2014/main" id="{91D1D188-D7EA-5A44-A392-6E9BFB996D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53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80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44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27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78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69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80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bg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39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bg1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40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85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10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30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98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034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1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439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4F04016-134E-5847-8C7D-495FF4D6E4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/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43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bg>
      <p:bgPr>
        <a:gradFill>
          <a:gsLst>
            <a:gs pos="99000">
              <a:srgbClr val="04BEBD"/>
            </a:gs>
            <a:gs pos="0">
              <a:schemeClr val="accent2">
                <a:lumMod val="75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38C82A40-C4C2-344E-940E-3B8BFDE12A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95060" y="1900904"/>
            <a:ext cx="1153880" cy="102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55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bm sign-off">
    <p:bg>
      <p:bgPr>
        <a:gradFill>
          <a:gsLst>
            <a:gs pos="100000">
              <a:srgbClr val="04BEBD"/>
            </a:gs>
            <a:gs pos="0">
              <a:schemeClr val="accent2">
                <a:lumMod val="75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picture containing drawing, clock, light&#10;&#10;Description automatically generated">
            <a:extLst>
              <a:ext uri="{FF2B5EF4-FFF2-40B4-BE49-F238E27FC236}">
                <a16:creationId xmlns:a16="http://schemas.microsoft.com/office/drawing/2014/main" id="{B5617D58-C65E-0E4C-AE7E-A1FFED4360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63685" y="2198530"/>
            <a:ext cx="2416629" cy="561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81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over Slide">
    <p:bg>
      <p:bgPr>
        <a:gradFill flip="none" rotWithShape="1">
          <a:gsLst>
            <a:gs pos="0">
              <a:schemeClr val="accent2"/>
            </a:gs>
            <a:gs pos="100000">
              <a:srgbClr val="000000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Title Text"/>
          <p:cNvSpPr txBox="1">
            <a:spLocks noGrp="1"/>
          </p:cNvSpPr>
          <p:nvPr>
            <p:ph type="title"/>
          </p:nvPr>
        </p:nvSpPr>
        <p:spPr>
          <a:xfrm>
            <a:off x="228600" y="203780"/>
            <a:ext cx="4114802" cy="447934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Title Text</a:t>
            </a:r>
          </a:p>
        </p:txBody>
      </p:sp>
      <p:pic>
        <p:nvPicPr>
          <p:cNvPr id="336" name="Picture 5" descr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3810" y="241301"/>
            <a:ext cx="521590" cy="211455"/>
          </a:xfrm>
          <a:prstGeom prst="rect">
            <a:avLst/>
          </a:prstGeom>
          <a:ln w="12700">
            <a:miter lim="400000"/>
          </a:ln>
        </p:spPr>
      </p:pic>
      <p:pic>
        <p:nvPicPr>
          <p:cNvPr id="337" name="Picture 13" descr="Picture 13"/>
          <p:cNvPicPr>
            <a:picLocks noChangeAspect="1"/>
          </p:cNvPicPr>
          <p:nvPr/>
        </p:nvPicPr>
        <p:blipFill>
          <a:blip r:embed="rId3"/>
          <a:srcRect l="15132" t="30197" r="15583" b="32340"/>
          <a:stretch>
            <a:fillRect/>
          </a:stretch>
        </p:blipFill>
        <p:spPr>
          <a:xfrm>
            <a:off x="7410746" y="4604932"/>
            <a:ext cx="1574104" cy="39896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7146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BM_signo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51C25BB-0086-934B-BBF5-0E93FC803C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66" y="4787900"/>
            <a:ext cx="4114735" cy="166687"/>
          </a:xfrm>
        </p:spPr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13BA46F-F706-E649-95A7-CB15C439F5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1" y="4787900"/>
            <a:ext cx="1828732" cy="166687"/>
          </a:xfrm>
        </p:spPr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A picture containing drawing, clock, light&#10;&#10;Description automatically generated">
            <a:extLst>
              <a:ext uri="{FF2B5EF4-FFF2-40B4-BE49-F238E27FC236}">
                <a16:creationId xmlns:a16="http://schemas.microsoft.com/office/drawing/2014/main" id="{1F13EECD-81FE-6E49-9C76-BD059A0E81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63685" y="2198530"/>
            <a:ext cx="2416629" cy="561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858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BM_signo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51C25BB-0086-934B-BBF5-0E93FC803C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66" y="4787900"/>
            <a:ext cx="4114735" cy="166687"/>
          </a:xfrm>
        </p:spPr>
        <p:txBody>
          <a:bodyPr/>
          <a:lstStyle/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13BA46F-F706-E649-95A7-CB15C439F5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1" y="4787900"/>
            <a:ext cx="1828732" cy="166687"/>
          </a:xfrm>
        </p:spPr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" descr="IBM 8-bar logo">
            <a:extLst>
              <a:ext uri="{FF2B5EF4-FFF2-40B4-BE49-F238E27FC236}">
                <a16:creationId xmlns:a16="http://schemas.microsoft.com/office/drawing/2014/main" id="{790FE06F-3FFA-204F-B27D-B12DACF083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1681" y="2317651"/>
            <a:ext cx="1273366" cy="505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1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BM_signoff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51C25BB-0086-934B-BBF5-0E93FC803C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66" y="4787900"/>
            <a:ext cx="4114735" cy="166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 IBM, Clients &amp; Business Partner Use Only 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613BA46F-F706-E649-95A7-CB15C439F5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086601" y="4787900"/>
            <a:ext cx="1828732" cy="1666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" descr="IBM 8-bar logo">
            <a:extLst>
              <a:ext uri="{FF2B5EF4-FFF2-40B4-BE49-F238E27FC236}">
                <a16:creationId xmlns:a16="http://schemas.microsoft.com/office/drawing/2014/main" id="{E70482B8-491C-BB49-AD33-D7DCB27598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3196" y="2312885"/>
            <a:ext cx="1297608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5647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27788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195941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03123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4500563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3431" cy="2358033"/>
          </a:xfrm>
        </p:spPr>
        <p:txBody>
          <a:bodyPr/>
          <a:lstStyle>
            <a:lvl1pPr>
              <a:lnSpc>
                <a:spcPct val="100000"/>
              </a:lnSpc>
              <a:defRPr sz="3225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EC0ABF4-1C51-BF7D-70CF-DD2C38C9DB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0332" y="4536035"/>
            <a:ext cx="1857133" cy="428625"/>
          </a:xfrm>
          <a:prstGeom prst="rect">
            <a:avLst/>
          </a:prstGeom>
        </p:spPr>
        <p:txBody>
          <a:bodyPr anchor="b"/>
          <a:lstStyle>
            <a:lvl1pPr defTabSz="435483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069D4BA-0EE4-89E6-7C3A-71F71400A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95821" y="4500563"/>
            <a:ext cx="1857133" cy="464097"/>
          </a:xfrm>
          <a:prstGeom prst="rect">
            <a:avLst/>
          </a:prstGeom>
        </p:spPr>
        <p:txBody>
          <a:bodyPr anchor="b"/>
          <a:lstStyle>
            <a:lvl1pPr defTabSz="435483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07967348"/>
      </p:ext>
    </p:extLst>
  </p:cSld>
  <p:clrMapOvr>
    <a:masterClrMapping/>
  </p:clrMapOvr>
  <p:transition spd="med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0"/>
            <a:ext cx="9144000" cy="4500563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3429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525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3431" cy="1715095"/>
          </a:xfrm>
        </p:spPr>
        <p:txBody>
          <a:bodyPr/>
          <a:lstStyle>
            <a:lvl1pPr>
              <a:lnSpc>
                <a:spcPct val="100000"/>
              </a:lnSpc>
              <a:defRPr sz="3225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14509F-3705-A705-C5B3-FA435C246A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0332" y="4536035"/>
            <a:ext cx="1857133" cy="428625"/>
          </a:xfrm>
          <a:prstGeom prst="rect">
            <a:avLst/>
          </a:prstGeom>
        </p:spPr>
        <p:txBody>
          <a:bodyPr anchor="b"/>
          <a:lstStyle>
            <a:lvl1pPr defTabSz="435483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F264794-39E6-B78D-2E92-D8D02F9188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95821" y="4500563"/>
            <a:ext cx="1857133" cy="464097"/>
          </a:xfrm>
          <a:prstGeom prst="rect">
            <a:avLst/>
          </a:prstGeom>
        </p:spPr>
        <p:txBody>
          <a:bodyPr anchor="b"/>
          <a:lstStyle>
            <a:lvl1pPr defTabSz="435483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88848910"/>
      </p:ext>
    </p:extLst>
  </p:cSld>
  <p:clrMapOvr>
    <a:masterClrMapping/>
  </p:clrMapOvr>
  <p:transition spd="med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3431" cy="1715095"/>
          </a:xfrm>
        </p:spPr>
        <p:txBody>
          <a:bodyPr/>
          <a:lstStyle>
            <a:lvl1pPr>
              <a:lnSpc>
                <a:spcPct val="100000"/>
              </a:lnSpc>
              <a:defRPr sz="3225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1139153"/>
      </p:ext>
    </p:extLst>
  </p:cSld>
  <p:clrMapOvr>
    <a:masterClrMapping/>
  </p:clrMapOvr>
  <p:transition spd="med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3431" cy="1715095"/>
          </a:xfrm>
        </p:spPr>
        <p:txBody>
          <a:bodyPr/>
          <a:lstStyle>
            <a:lvl1pPr>
              <a:lnSpc>
                <a:spcPct val="100000"/>
              </a:lnSpc>
              <a:defRPr sz="3225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5999" y="4673727"/>
            <a:ext cx="4143431" cy="285750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6155631"/>
      </p:ext>
    </p:extLst>
  </p:cSld>
  <p:clrMapOvr>
    <a:masterClrMapping/>
  </p:clrMapOvr>
  <p:transition spd="med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5689" y="213718"/>
            <a:ext cx="4142836" cy="471547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3787409" cy="3929658"/>
          </a:xfrm>
        </p:spPr>
        <p:txBody>
          <a:bodyPr/>
          <a:lstStyle>
            <a:lvl1pPr>
              <a:lnSpc>
                <a:spcPct val="100000"/>
              </a:lnSpc>
              <a:defRPr sz="3225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807606"/>
      </p:ext>
    </p:extLst>
  </p:cSld>
  <p:clrMapOvr>
    <a:masterClrMapping/>
  </p:clrMapOvr>
  <p:transition spd="med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5689" y="213718"/>
            <a:ext cx="4142836" cy="471547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572643"/>
            <a:ext cx="3786885" cy="3501628"/>
          </a:xfrm>
        </p:spPr>
        <p:txBody>
          <a:bodyPr/>
          <a:lstStyle>
            <a:lvl1pPr>
              <a:lnSpc>
                <a:spcPct val="100000"/>
              </a:lnSpc>
              <a:defRPr sz="3225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5999" y="144450"/>
            <a:ext cx="3786885" cy="214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00317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1858324" cy="1715095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5689" y="213718"/>
            <a:ext cx="1857133" cy="428684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4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815CA4A-82C6-E038-8C80-CF4A54B1E6C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61846" y="213717"/>
            <a:ext cx="1857133" cy="428684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834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35372149"/>
      </p:ext>
    </p:extLst>
  </p:cSld>
  <p:clrMapOvr>
    <a:masterClrMapping/>
  </p:clrMapOvr>
  <p:transition spd="med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3431" cy="1072158"/>
          </a:xfrm>
        </p:spPr>
        <p:txBody>
          <a:bodyPr rIns="457200"/>
          <a:lstStyle>
            <a:lvl1pPr>
              <a:lnSpc>
                <a:spcPct val="100000"/>
              </a:lnSpc>
              <a:defRPr sz="3225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798502"/>
      </p:ext>
    </p:extLst>
  </p:cSld>
  <p:clrMapOvr>
    <a:masterClrMapping/>
  </p:clrMapOvr>
  <p:transition spd="med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475" y="144450"/>
            <a:ext cx="6427347" cy="3071813"/>
          </a:xfrm>
        </p:spPr>
        <p:txBody>
          <a:bodyPr/>
          <a:lstStyle>
            <a:lvl1pPr>
              <a:lnSpc>
                <a:spcPct val="100000"/>
              </a:lnSpc>
              <a:defRPr sz="64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92318"/>
      </p:ext>
    </p:extLst>
  </p:cSld>
  <p:clrMapOvr>
    <a:masterClrMapping/>
  </p:clrMapOvr>
  <p:transition spd="med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3715457" cy="1072158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9D4AF5E-3E60-06F1-E3E3-F00E3ADA90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5273" y="144019"/>
            <a:ext cx="4152728" cy="3215282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64051860"/>
      </p:ext>
    </p:extLst>
  </p:cSld>
  <p:clrMapOvr>
    <a:masterClrMapping/>
  </p:clrMapOvr>
  <p:transition spd="med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5497590" cy="3643908"/>
          </a:xfrm>
        </p:spPr>
        <p:txBody>
          <a:bodyPr/>
          <a:lstStyle>
            <a:lvl1pPr>
              <a:lnSpc>
                <a:spcPct val="100000"/>
              </a:lnSpc>
              <a:defRPr sz="3225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435037"/>
      </p:ext>
    </p:extLst>
  </p:cSld>
  <p:clrMapOvr>
    <a:masterClrMapping/>
  </p:clrMapOvr>
  <p:transition spd="med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5972" y="3486150"/>
            <a:ext cx="4143431" cy="1328738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67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4597" y="3486150"/>
            <a:ext cx="4142836" cy="1328738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67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4572000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01B1D3B-7FD1-5342-AD21-86B27FCC12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5475" y="144450"/>
            <a:ext cx="2861693" cy="235803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E2A6217-C3F0-04CD-0266-C53A5C85FDE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84597" y="144450"/>
            <a:ext cx="2861693" cy="235803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5429827"/>
      </p:ext>
    </p:extLst>
  </p:cSld>
  <p:clrMapOvr>
    <a:masterClrMapping/>
  </p:clrMapOvr>
  <p:transition spd="med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475" y="144450"/>
            <a:ext cx="1855943" cy="71497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1392" y="144450"/>
            <a:ext cx="1855943" cy="71378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9987" y="144450"/>
            <a:ext cx="1856538" cy="7154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072158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4516041"/>
            <a:ext cx="1856538" cy="42862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54864" indent="-54864"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09728" indent="-54864"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164592" indent="-54864"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874900"/>
            <a:ext cx="1856538" cy="362739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89" y="874900"/>
            <a:ext cx="1857133" cy="36250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2" y="874900"/>
            <a:ext cx="1857133" cy="362506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584171"/>
      </p:ext>
    </p:extLst>
  </p:cSld>
  <p:clrMapOvr>
    <a:masterClrMapping/>
  </p:clrMapOvr>
  <p:transition spd="med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13094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475" y="144450"/>
            <a:ext cx="1855943" cy="2000846"/>
          </a:xfrm>
        </p:spPr>
        <p:txBody>
          <a:bodyPr/>
          <a:lstStyle>
            <a:lvl1pPr>
              <a:lnSpc>
                <a:spcPct val="100000"/>
              </a:lnSpc>
              <a:defRPr sz="322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144450"/>
            <a:ext cx="4142836" cy="200084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>
              <a:lnSpc>
                <a:spcPct val="100000"/>
              </a:lnSpc>
              <a:spcBef>
                <a:spcPts val="0"/>
              </a:spcBef>
              <a:defRPr sz="32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>
              <a:lnSpc>
                <a:spcPct val="100000"/>
              </a:lnSpc>
              <a:spcBef>
                <a:spcPts val="0"/>
              </a:spcBef>
              <a:defRPr sz="32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>
              <a:lnSpc>
                <a:spcPct val="100000"/>
              </a:lnSpc>
              <a:spcBef>
                <a:spcPts val="0"/>
              </a:spcBef>
              <a:defRPr sz="32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475" y="2428875"/>
            <a:ext cx="1855943" cy="2000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2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99987" y="2428875"/>
            <a:ext cx="4142836" cy="2000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>
              <a:lnSpc>
                <a:spcPct val="100000"/>
              </a:lnSpc>
              <a:spcBef>
                <a:spcPts val="0"/>
              </a:spcBef>
              <a:defRPr sz="32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>
              <a:lnSpc>
                <a:spcPct val="100000"/>
              </a:lnSpc>
              <a:spcBef>
                <a:spcPts val="0"/>
              </a:spcBef>
              <a:defRPr sz="32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>
              <a:lnSpc>
                <a:spcPct val="100000"/>
              </a:lnSpc>
              <a:spcBef>
                <a:spcPts val="0"/>
              </a:spcBef>
              <a:defRPr sz="32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561162"/>
      </p:ext>
    </p:extLst>
  </p:cSld>
  <p:clrMapOvr>
    <a:masterClrMapping/>
  </p:clrMapOvr>
  <p:transition spd="med"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2499987" y="3071813"/>
            <a:ext cx="6428538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2499987" y="1500188"/>
            <a:ext cx="6428538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9987" y="144450"/>
            <a:ext cx="1856538" cy="107215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072158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4516041"/>
            <a:ext cx="1856538" cy="42862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89" y="144450"/>
            <a:ext cx="2857128" cy="107215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89" y="1570482"/>
            <a:ext cx="2857128" cy="107156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89" y="3151251"/>
            <a:ext cx="2857128" cy="107156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99987" y="1570482"/>
            <a:ext cx="1856538" cy="107156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99988" y="3151251"/>
            <a:ext cx="1856537" cy="107156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4875" b="0" i="0">
                <a:solidFill>
                  <a:schemeClr val="accent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984"/>
      </p:ext>
    </p:extLst>
  </p:cSld>
  <p:clrMapOvr>
    <a:masterClrMapping/>
  </p:clrMapOvr>
  <p:transition spd="med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303799C-055C-81A5-3E36-D78912AA66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97B3A71-6FB0-4C14-4695-68801FBBBE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0236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C1273EB-3A3E-B282-A619-1D6FB102B1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0367260-BF8E-C847-2296-4EAD779F01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50990064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987" y="144450"/>
            <a:ext cx="1858324" cy="57209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68580" indent="-68580">
              <a:lnSpc>
                <a:spcPct val="10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37160" indent="-68580">
              <a:lnSpc>
                <a:spcPct val="10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05740" indent="-68580">
              <a:lnSpc>
                <a:spcPct val="10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1285875"/>
            <a:ext cx="0" cy="32146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4570262" y="1285875"/>
            <a:ext cx="0" cy="32164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6857107" y="1285875"/>
            <a:ext cx="0" cy="32164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E03333F-C9F4-9C57-BAAE-A49EA523AF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F3321C6-7CF8-EF30-4736-48A201B094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0236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AC67FA0E-EA85-0950-FCC7-3F6BF1A7414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67605-D889-6D38-2F1B-DF58E809AC5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27489145"/>
      </p:ext>
    </p:extLst>
  </p:cSld>
  <p:clrMapOvr>
    <a:masterClrMapping/>
  </p:clrMapOvr>
  <p:transition spd="med"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987" y="216027"/>
            <a:ext cx="1858324" cy="57209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2" indent="-96012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4" indent="-96012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36" indent="-96012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89" y="216027"/>
            <a:ext cx="1857133" cy="57209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2" indent="-96012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4" indent="-96012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36" indent="-96012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7"/>
            <a:ext cx="1859514" cy="57209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2" indent="-96012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4" indent="-96012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36" indent="-96012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2285702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6857107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4" y="4801588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4F49B39-EB32-770F-5644-D3D9387107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D25B5E4-5513-DB6F-04BF-4A2A85E857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EC86775E-92B8-3897-2210-2993F34BA62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27877579"/>
      </p:ext>
    </p:extLst>
  </p:cSld>
  <p:clrMapOvr>
    <a:masterClrMapping/>
  </p:clrMapOvr>
  <p:transition spd="med"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786408"/>
          </a:xfrm>
        </p:spPr>
        <p:txBody>
          <a:bodyPr/>
          <a:lstStyle>
            <a:lvl1pPr>
              <a:lnSpc>
                <a:spcPct val="100000"/>
              </a:lnSpc>
              <a:defRPr sz="10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5999" y="1285875"/>
            <a:ext cx="1858324" cy="15001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499987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0508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071392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2285702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6857107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CEA9C7F-1CB2-B0B0-AE4C-171B0AFC6E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4D72D8-0638-1E42-6480-21D9CF7A440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6DDCC2C-4DA8-F28F-9BBF-ACD120C05B4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89019021"/>
      </p:ext>
    </p:extLst>
  </p:cSld>
  <p:clrMapOvr>
    <a:masterClrMapping/>
  </p:clrMapOvr>
  <p:transition spd="med"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1855943" cy="428030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416" y="144018"/>
            <a:ext cx="1858324" cy="428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spcBef>
                <a:spcPts val="0"/>
              </a:spcBef>
              <a:defRPr sz="1050"/>
            </a:lvl2pPr>
            <a:lvl3pPr>
              <a:spcBef>
                <a:spcPts val="0"/>
              </a:spcBef>
              <a:defRPr sz="1050"/>
            </a:lvl3pPr>
            <a:lvl4pPr>
              <a:spcBef>
                <a:spcPts val="0"/>
              </a:spcBef>
              <a:defRPr sz="1050"/>
            </a:lvl4pPr>
            <a:lvl5pPr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98038E-FA9A-2E7F-DE4F-45D37F116D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B3FDBEC-0A0D-82A4-F347-00CE8AD711B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76585" y="1285875"/>
            <a:ext cx="3818444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94982796"/>
      </p:ext>
    </p:extLst>
  </p:cSld>
  <p:clrMapOvr>
    <a:masterClrMapping/>
  </p:clrMapOvr>
  <p:transition spd="med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2783985" cy="714971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377FA90-E771-AC82-090E-6FBBAE2633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5" y="1285875"/>
            <a:ext cx="3818444" cy="321468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3C39AE1-8603-84DA-CC2F-0C36A1C9D15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5999" y="1285875"/>
            <a:ext cx="3818444" cy="321468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64125632"/>
      </p:ext>
    </p:extLst>
  </p:cSld>
  <p:clrMapOvr>
    <a:masterClrMapping/>
  </p:clrMapOvr>
  <p:transition spd="med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1645" cy="1715095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3A4153E-E96A-682A-6ADB-86D8329C1B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0174" y="144017"/>
            <a:ext cx="1861229" cy="428684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AA778F7-DDE5-2F6E-F5FA-F5B0F120E06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66772" y="144017"/>
            <a:ext cx="1861229" cy="428684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6683056"/>
      </p:ext>
    </p:extLst>
  </p:cSld>
  <p:clrMapOvr>
    <a:masterClrMapping/>
  </p:clrMapOvr>
  <p:transition spd="med"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7133" cy="1715095"/>
          </a:xfrm>
        </p:spPr>
        <p:txBody>
          <a:bodyPr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38C4317-85BF-2C36-29AD-9974CF6DE93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0174" y="144017"/>
            <a:ext cx="1861229" cy="428684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1D0A98E-CDEF-685C-25C7-E4EA3AFDCD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66772" y="144017"/>
            <a:ext cx="1861229" cy="428684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47225946"/>
      </p:ext>
    </p:extLst>
  </p:cSld>
  <p:clrMapOvr>
    <a:masterClrMapping/>
  </p:clrMapOvr>
  <p:transition spd="med"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39265" cy="1715095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401EF50-EF95-0C87-38FD-2E0B9FD3E3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793" y="1285875"/>
            <a:ext cx="1861229" cy="321468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7715D83-2EB0-631E-31DF-DAE49EE1050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6"/>
            <a:ext cx="1861229" cy="321468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2EE4CB5-8991-123D-EBF8-1ED34CC50FE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94793" y="144018"/>
            <a:ext cx="1861229" cy="57209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4ACB30C-F320-75FA-F4BC-8A4103FF2F3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66772" y="144018"/>
            <a:ext cx="1861229" cy="57209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47240547"/>
      </p:ext>
    </p:extLst>
  </p:cSld>
  <p:clrMapOvr>
    <a:masterClrMapping/>
  </p:clrMapOvr>
  <p:transition spd="med"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715095"/>
          </a:xfrm>
        </p:spPr>
        <p:txBody>
          <a:bodyPr rIns="0"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C320D13A-B2E3-8109-F9A4-70AB45A14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793" y="1285875"/>
            <a:ext cx="1861229" cy="321468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74BDB94-1ECF-14DA-1C2A-F289E665E0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6"/>
            <a:ext cx="1861229" cy="321468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6E55AA2-DCD0-9227-A831-24FD27E4CB5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94793" y="144018"/>
            <a:ext cx="1861229" cy="57209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8FF2718-83A0-A416-2862-0D743963623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66772" y="144018"/>
            <a:ext cx="1861229" cy="57209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92546946"/>
      </p:ext>
    </p:extLst>
  </p:cSld>
  <p:clrMapOvr>
    <a:masterClrMapping/>
  </p:clrMapOvr>
  <p:transition spd="med"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1855943" cy="428030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00606" y="144018"/>
            <a:ext cx="1858324" cy="42803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050"/>
            </a:lvl2pPr>
            <a:lvl3pPr>
              <a:lnSpc>
                <a:spcPct val="90000"/>
              </a:lnSpc>
              <a:spcBef>
                <a:spcPts val="0"/>
              </a:spcBef>
              <a:defRPr sz="1050"/>
            </a:lvl3pPr>
            <a:lvl4pPr>
              <a:lnSpc>
                <a:spcPct val="90000"/>
              </a:lnSpc>
              <a:spcBef>
                <a:spcPts val="0"/>
              </a:spcBef>
              <a:defRPr sz="1050"/>
            </a:lvl4pPr>
            <a:lvl5pPr>
              <a:lnSpc>
                <a:spcPct val="90000"/>
              </a:lnSpc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85689" y="216027"/>
            <a:ext cx="455998" cy="455423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071392" y="216027"/>
            <a:ext cx="456632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4570262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6857107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6703E2E-EBF0-C866-7278-E844AFCB3A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9987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D2030D9-4E2C-5A41-AC60-E9DAA791E3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6586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473B493-1BC7-D878-AEAA-C60A2D67B76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71392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2725342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5999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85689" y="216027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15999" y="2427732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85689" y="2428875"/>
            <a:ext cx="455998" cy="456057"/>
          </a:xfrm>
          <a:prstGeom prst="rect">
            <a:avLst/>
          </a:prstGeom>
        </p:spPr>
        <p:txBody>
          <a:bodyPr anchor="ctr"/>
          <a:lstStyle>
            <a:lvl1pPr algn="ctr">
              <a:defRPr sz="600" b="0" i="0"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4571405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13094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E4E8AF0-4192-FB86-9702-8592B301CAB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0189" y="921222"/>
            <a:ext cx="2501177" cy="115046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5744FFC-849B-8FBD-FF73-B21942BA087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85690" y="921222"/>
            <a:ext cx="2501177" cy="115046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0A13E8E-060C-6E01-AB11-41A2190116B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16000" y="3135786"/>
            <a:ext cx="2501177" cy="1150461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277838E-5792-202A-65F5-342AF0992EF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1500" y="3135786"/>
            <a:ext cx="2501177" cy="1150460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6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5833495"/>
      </p:ext>
    </p:extLst>
  </p:cSld>
  <p:clrMapOvr>
    <a:masterClrMapping/>
  </p:clrMapOvr>
  <p:transition spd="med"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630936"/>
            <a:ext cx="2142846" cy="853821"/>
          </a:xfrm>
        </p:spPr>
        <p:txBody>
          <a:bodyPr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5999" y="144450"/>
            <a:ext cx="1858324" cy="428030"/>
          </a:xfrm>
          <a:prstGeom prst="rect">
            <a:avLst/>
          </a:prstGeom>
        </p:spPr>
        <p:txBody>
          <a:bodyPr/>
          <a:lstStyle>
            <a:lvl1pPr>
              <a:defRPr sz="10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4FBB383F-F59D-AEC8-4D6C-AC28926B09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053B001-EDB1-FA28-FFB0-F41FF2D3313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48988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D8F0E9F-03CA-D8CD-75A1-CB650A81E9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2389" y="2500312"/>
            <a:ext cx="1861229" cy="185737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16D24DB-6F94-3A9D-70FD-B96C2E9E8D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2500312"/>
            <a:ext cx="1861229" cy="185737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11783771"/>
      </p:ext>
    </p:extLst>
  </p:cSld>
  <p:clrMapOvr>
    <a:masterClrMapping/>
  </p:clrMapOvr>
  <p:transition spd="med"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572643"/>
            <a:ext cx="4141050" cy="853821"/>
          </a:xfrm>
        </p:spPr>
        <p:txBody>
          <a:bodyPr rIns="457200"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5999" y="144450"/>
            <a:ext cx="1858324" cy="16802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EE7923F-2C08-E17F-72B0-F41C361C53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F52302E-5C35-DCB5-2D11-CC0BE75371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48988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4BCD2A-7E42-10EE-E251-907F955BFC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2389" y="2500312"/>
            <a:ext cx="1861229" cy="185737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EF5B836-0687-FE12-9EE1-7B2CB112453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2500312"/>
            <a:ext cx="1861229" cy="185737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9726644"/>
      </p:ext>
    </p:extLst>
  </p:cSld>
  <p:clrMapOvr>
    <a:masterClrMapping/>
  </p:clrMapOvr>
  <p:transition spd="med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8324" cy="1715095"/>
          </a:xfrm>
        </p:spPr>
        <p:txBody>
          <a:bodyPr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E32141B-6D8C-ADDD-8D24-D2B36038138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2389" y="2496312"/>
            <a:ext cx="1861229" cy="200034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DBD6A3D-FB96-6A97-1F58-F61F03D3769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2496312"/>
            <a:ext cx="1861229" cy="200034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54BA88F-5BD8-839D-33E8-DAC02350A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10189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BCA7C7E-4E8C-6B73-007A-21635527B08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86788" y="2496312"/>
            <a:ext cx="1861229" cy="200034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82900466"/>
      </p:ext>
    </p:extLst>
  </p:cSld>
  <p:clrMapOvr>
    <a:masterClrMapping/>
  </p:clrMapOvr>
  <p:transition spd="med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43431" cy="1715095"/>
          </a:xfrm>
        </p:spPr>
        <p:txBody>
          <a:bodyPr rIns="457200"/>
          <a:lstStyle>
            <a:lvl1pPr>
              <a:lnSpc>
                <a:spcPct val="100000"/>
              </a:lnSpc>
              <a:defRPr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4340CDF-396E-8FEA-9F33-A868AEB7DE6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72389" y="2496312"/>
            <a:ext cx="1861229" cy="200034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4B77E5-DBD6-E6DD-D620-C878361A7B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2496312"/>
            <a:ext cx="1861229" cy="200034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83D79D-159D-684B-A0A2-E6DD61C3A50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10189" y="2496312"/>
            <a:ext cx="1861229" cy="200034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50B9EEB-A8EA-2744-D650-EC7233DAFF4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86788" y="2496312"/>
            <a:ext cx="1861229" cy="200034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64434118"/>
      </p:ext>
    </p:extLst>
  </p:cSld>
  <p:clrMapOvr>
    <a:masterClrMapping/>
  </p:clrMapOvr>
  <p:transition spd="med"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715096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74FE312-96C3-0801-8AFE-48C53A3855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FE072FD-410A-B1CF-4BD5-EFE459133B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48988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C0822F6-B969-1E92-CC74-0CBB1126A9C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72389" y="2500312"/>
            <a:ext cx="1861229" cy="185737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9AB4B51-7CBC-4B83-F837-82517C33FEB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48988" y="2500312"/>
            <a:ext cx="1861229" cy="185737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AB00072-45AF-510F-C146-BAC3B20406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499416" y="216027"/>
            <a:ext cx="1861229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4503F3E-D426-7E9E-BDBD-CDA2B731934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99416" y="2500312"/>
            <a:ext cx="1861229" cy="185737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27068030"/>
      </p:ext>
    </p:extLst>
  </p:cSld>
  <p:clrMapOvr>
    <a:masterClrMapping/>
  </p:clrMapOvr>
  <p:transition spd="med"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072158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99987" y="216027"/>
            <a:ext cx="150856" cy="151209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85690" y="216027"/>
            <a:ext cx="150856" cy="151209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1392" y="216027"/>
            <a:ext cx="150856" cy="151209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499987" y="2510487"/>
            <a:ext cx="150856" cy="151209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785690" y="2510487"/>
            <a:ext cx="150856" cy="151209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071392" y="2510487"/>
            <a:ext cx="150856" cy="151209"/>
          </a:xfrm>
          <a:prstGeom prst="rect">
            <a:avLst/>
          </a:prstGeom>
        </p:spPr>
        <p:txBody>
          <a:bodyPr/>
          <a:lstStyle>
            <a:lvl1pPr>
              <a:defRPr sz="525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3" y="2286000"/>
            <a:ext cx="664520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2285702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6857107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0784E564-F094-C65E-4C30-6AD26FD6AE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535279"/>
            <a:ext cx="1861229" cy="1393531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B384162-F420-216E-B250-BA49ED23A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48988" y="535279"/>
            <a:ext cx="1861229" cy="1393529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D5D50EC-56AE-CB68-AF0D-967D997C227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72389" y="2819563"/>
            <a:ext cx="1861229" cy="1395246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5DF0382-EAC2-42E6-8F3C-D78D997011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048988" y="2819563"/>
            <a:ext cx="1861229" cy="139524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D63E7DA-FA91-79CE-F137-C4CFF423781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99416" y="535278"/>
            <a:ext cx="1861229" cy="1393530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03E415E0-33AF-4F69-4718-A13AF38331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499416" y="2819563"/>
            <a:ext cx="1861229" cy="139524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48245717"/>
      </p:ext>
    </p:extLst>
  </p:cSld>
  <p:clrMapOvr>
    <a:masterClrMapping/>
  </p:clrMapOvr>
  <p:transition spd="med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8"/>
            <a:ext cx="4139264" cy="1279922"/>
          </a:xfrm>
        </p:spPr>
        <p:txBody>
          <a:bodyPr rIns="457200"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5475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2286000"/>
            <a:ext cx="0" cy="221456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6857107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22EB5F78-B3F7-EBA1-BE53-B96CA397D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2389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BFFEAD4C-1129-22EA-9ED5-9BE409A0C7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48988" y="216028"/>
            <a:ext cx="1861229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91719EAC-72ED-B4B5-CA48-EB23C5EB8B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72389" y="2500312"/>
            <a:ext cx="1861229" cy="185737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28C9C88E-05A2-25E3-4571-C794E968D7F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48988" y="2500312"/>
            <a:ext cx="1861229" cy="185737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D76302BE-E896-F153-8F88-B63A433B5C2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15475" y="2499741"/>
            <a:ext cx="1861229" cy="185794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FF14BC99-A0C2-45B6-C1F6-84D3EACEDF4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499416" y="2500312"/>
            <a:ext cx="1861229" cy="185737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13206237"/>
      </p:ext>
    </p:extLst>
  </p:cSld>
  <p:clrMapOvr>
    <a:masterClrMapping/>
  </p:clrMapOvr>
  <p:transition spd="med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279922"/>
          </a:xfrm>
        </p:spPr>
        <p:txBody>
          <a:bodyPr rIns="0"/>
          <a:lstStyle>
            <a:lvl1pPr>
              <a:lnSpc>
                <a:spcPct val="100000"/>
              </a:lnSpc>
              <a:defRPr sz="165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5475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2286000"/>
            <a:ext cx="0" cy="221456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6857107" y="21371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4570262" y="212598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BA90B24-A7AA-EE26-4DF0-B0850F874CC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6976" y="2499741"/>
            <a:ext cx="1884557" cy="1857943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B293E5F0-8E0D-8611-485C-03E54EE01C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496947" y="2499741"/>
            <a:ext cx="1884557" cy="1857941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5B5649-C746-EAC6-E506-88A5EE6297F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71406" y="2513033"/>
            <a:ext cx="1884557" cy="184464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1C336AE-32DC-6A3D-A0A5-FD3BEEE59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046007" y="2499741"/>
            <a:ext cx="1866798" cy="1857936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8F4A404-A74C-F889-564A-6677AB4E33D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053665" y="216028"/>
            <a:ext cx="1866798" cy="1929407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D20BC60-A254-2972-5466-846B4E395A1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59020" y="216027"/>
            <a:ext cx="1866798" cy="192940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51735865"/>
      </p:ext>
    </p:extLst>
  </p:cSld>
  <p:clrMapOvr>
    <a:masterClrMapping/>
  </p:clrMapOvr>
  <p:transition spd="med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5689" y="213718"/>
            <a:ext cx="4142836" cy="471547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97050FE-79BA-7876-7C87-1EBC54ABDE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06977" y="1285875"/>
            <a:ext cx="1864441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F1D7D74-3344-9F6B-7157-4A7E1AB4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00582" y="1285875"/>
            <a:ext cx="1864441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37786408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8150" y="4839236"/>
            <a:ext cx="100375" cy="92333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85702" y="0"/>
            <a:ext cx="6858298" cy="51435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581521-9341-A586-10B8-D3CD3EBBADF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6977" y="1285875"/>
            <a:ext cx="1864441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1039571"/>
      </p:ext>
    </p:extLst>
  </p:cSld>
  <p:clrMapOvr>
    <a:masterClrMapping/>
  </p:clrMapOvr>
  <p:transition spd="med"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8150" y="4839236"/>
            <a:ext cx="100375" cy="92333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99987" y="211932"/>
            <a:ext cx="6430919" cy="4717256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71C2C-D5EE-B66A-FC5F-45245937D13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1123" y="1285875"/>
            <a:ext cx="1861229" cy="3214688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71512261"/>
      </p:ext>
    </p:extLst>
  </p:cSld>
  <p:clrMapOvr>
    <a:masterClrMapping/>
  </p:clrMapOvr>
  <p:transition spd="med"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9139" y="4839235"/>
            <a:ext cx="99386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369161842"/>
      </p:ext>
    </p:extLst>
  </p:cSld>
  <p:clrMapOvr>
    <a:masterClrMapping/>
  </p:clrMapOvr>
  <p:transition spd="med"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9139" y="4839235"/>
            <a:ext cx="99386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13094" y="213717"/>
            <a:ext cx="8715431" cy="4717851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062820947"/>
      </p:ext>
    </p:extLst>
  </p:cSld>
  <p:clrMapOvr>
    <a:masterClrMapping/>
  </p:clrMapOvr>
  <p:transition spd="med"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15999" y="2293921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15999" y="357187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15999" y="982078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783309" y="229552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783309" y="357187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783309" y="100012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BD9F85F-FC85-6E91-ADD3-38F0F5BEE2E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786214" y="2293921"/>
            <a:ext cx="872968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8FF7CC5C-A250-D817-B1E6-EBD584F08B1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786214" y="3571875"/>
            <a:ext cx="872968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416EBE0-0E9C-366F-583C-0BE751DA2B3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786214" y="992277"/>
            <a:ext cx="872968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096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4C60C05-9B2E-E5AA-E325-3B56BC1B458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255945" y="982078"/>
            <a:ext cx="2158405" cy="94673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5379598-B132-493E-3A4A-13641BF453F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255945" y="2293922"/>
            <a:ext cx="2158405" cy="92261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387A7EC-6D77-1F31-248D-AF22142944D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255945" y="3571875"/>
            <a:ext cx="2191072" cy="92261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79C6738A-ED82-E7BB-C9BF-8057E77ED4B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783210" y="2304121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24967257-4251-A48B-9DE6-F07EC4EC036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4783210" y="3582075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4A6B1635-0D2E-93F5-D353-C9B1B58E7780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783210" y="992277"/>
            <a:ext cx="927376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0541A3D3-1296-6D28-80F6-210E0C86167C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783210" y="2311968"/>
            <a:ext cx="859041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EE31C9DF-6A33-F9E3-7394-0B59091621E3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783210" y="3589922"/>
            <a:ext cx="859041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CAAA857-D33B-2769-F70D-96215C29A417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783210" y="1000125"/>
            <a:ext cx="859041" cy="928688"/>
          </a:xfrm>
          <a:prstGeom prst="rect">
            <a:avLst/>
          </a:prstGeom>
          <a:solidFill>
            <a:srgbClr val="E0E0E0"/>
          </a:solidFill>
        </p:spPr>
        <p:txBody>
          <a:bodyPr anchor="ctr"/>
          <a:lstStyle>
            <a:lvl1pPr algn="ctr">
              <a:defRPr b="0" i="0">
                <a:solidFill>
                  <a:schemeClr val="accent5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3412D36A-B5BE-A294-20DF-30B55A06C5A9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823156" y="1000125"/>
            <a:ext cx="2191072" cy="946735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ED900610-36FC-D7DA-7651-CC7E3D3200D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823156" y="2311969"/>
            <a:ext cx="2191072" cy="92261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BFEAE0F0-F94C-F405-C850-B3545368F695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823156" y="3589923"/>
            <a:ext cx="2191072" cy="922614"/>
          </a:xfrm>
          <a:prstGeom prst="rect">
            <a:avLst/>
          </a:prstGeom>
        </p:spPr>
        <p:txBody>
          <a:bodyPr/>
          <a:lstStyle>
            <a:lvl1pPr defTabSz="435483">
              <a:lnSpc>
                <a:spcPct val="100000"/>
              </a:lnSpc>
              <a:spcBef>
                <a:spcPts val="0"/>
              </a:spcBef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1228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24705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369900" indent="-122850" defTabSz="43548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 defTabSz="435483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47630232"/>
      </p:ext>
    </p:extLst>
  </p:cSld>
  <p:clrMapOvr>
    <a:masterClrMapping/>
  </p:clrMapOvr>
  <p:transition spd="med"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1715095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2499987" y="213718"/>
            <a:ext cx="6428538" cy="4286845"/>
          </a:xfrm>
          <a:prstGeom prst="rect">
            <a:avLst/>
          </a:prstGeom>
        </p:spPr>
        <p:txBody>
          <a:bodyPr anchor="ctr"/>
          <a:lstStyle>
            <a:lvl1pPr algn="ctr"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524818"/>
      </p:ext>
    </p:extLst>
  </p:cSld>
  <p:clrMapOvr>
    <a:masterClrMapping/>
  </p:clrMapOvr>
  <p:transition spd="med"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99" y="144450"/>
            <a:ext cx="1858324" cy="107215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1392" y="213718"/>
            <a:ext cx="1857133" cy="428684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54864" indent="-54864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8" indent="-54864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92" indent="-54864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206528"/>
      </p:ext>
    </p:extLst>
  </p:cSld>
  <p:clrMapOvr>
    <a:masterClrMapping/>
  </p:clrMapOvr>
  <p:transition spd="med"/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450"/>
            <a:ext cx="1855943" cy="572643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36798"/>
      </p:ext>
    </p:extLst>
  </p:cSld>
  <p:clrMapOvr>
    <a:masterClrMapping/>
  </p:clrMapOvr>
  <p:transition spd="med"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99" y="144450"/>
            <a:ext cx="1858324" cy="107215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1392" y="213718"/>
            <a:ext cx="1857133" cy="428684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54864" indent="-54864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8" indent="-54864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92" indent="-54864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17856" y="4801791"/>
            <a:ext cx="1858324" cy="142875"/>
          </a:xfrm>
        </p:spPr>
        <p:txBody>
          <a:bodyPr/>
          <a:lstStyle>
            <a:lvl1pPr>
              <a:defRPr b="0" i="0"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5689" y="213718"/>
            <a:ext cx="1857133" cy="428684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54864" indent="-54864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8" indent="-54864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92" indent="-54864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6948" y="4852064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1271"/>
      </p:ext>
    </p:extLst>
  </p:cSld>
  <p:clrMapOvr>
    <a:masterClrMapping/>
  </p:clrMapOvr>
  <p:transition spd="med"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4003" y="2313173"/>
            <a:ext cx="1295993" cy="517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752451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3197" y="2312884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948F41-2CB3-FD44-B310-F21D51774E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0313" y="4942332"/>
            <a:ext cx="3440611" cy="121194"/>
          </a:xfrm>
        </p:spPr>
        <p:txBody>
          <a:bodyPr/>
          <a:lstStyle>
            <a:lvl1pPr>
              <a:defRPr sz="600"/>
            </a:lvl1pPr>
          </a:lstStyle>
          <a:p>
            <a:r>
              <a:rPr lang="en-US" sz="800" dirty="0">
                <a:ea typeface="IBM Plex Sans" charset="0"/>
                <a:cs typeface="IBM Plex Sans" charset="0"/>
              </a:rPr>
              <a:t>IBM Cloud 2022 / © 2022 IBM Corporation</a:t>
            </a:r>
            <a:endParaRPr lang="en-US" sz="800" dirty="0">
              <a:solidFill>
                <a:schemeClr val="tx1"/>
              </a:solidFill>
              <a:latin typeface="+mn-lt"/>
              <a:ea typeface="IBM Plex Sans" charset="0"/>
              <a:cs typeface="IBM Plex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1888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Titl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02517" y="290928"/>
            <a:ext cx="3770265" cy="464018"/>
          </a:xfrm>
        </p:spPr>
        <p:txBody>
          <a:bodyPr>
            <a:noAutofit/>
          </a:bodyPr>
          <a:lstStyle>
            <a:lvl1pPr marL="0" indent="0" fontAlgn="t">
              <a:buFontTx/>
              <a:buNone/>
              <a:defRPr sz="2250" baseline="0">
                <a:solidFill>
                  <a:srgbClr val="5498E4"/>
                </a:solidFill>
                <a:latin typeface="Arial" charset="0"/>
              </a:defRPr>
            </a:lvl1pPr>
          </a:lstStyle>
          <a:p>
            <a:r>
              <a:rPr lang="en-US" dirty="0"/>
              <a:t>One line headline goes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00027" y="841456"/>
            <a:ext cx="8181975" cy="3229769"/>
          </a:xfrm>
        </p:spPr>
        <p:txBody>
          <a:bodyPr numCol="2" spcCol="1645920"/>
          <a:lstStyle>
            <a:lvl1pPr marL="0" marR="0" indent="0" algn="l" defTabSz="68578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/>
              <a:buNone/>
              <a:tabLst/>
              <a:defRPr lang="en-US" sz="1350" kern="1200" baseline="0">
                <a:effectLst/>
                <a:latin typeface="+mn-lt"/>
              </a:defRPr>
            </a:lvl1pPr>
            <a:lvl2pPr marL="342892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Copy goes here for two column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ore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ips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olar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sit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ame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onsectetur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adipiscing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l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onec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vehicul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ore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ni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qu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onvall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lacus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sodale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in.</a:t>
            </a:r>
            <a:endParaRPr lang="en-US" sz="900" dirty="0">
              <a:effectLst/>
              <a:latin typeface="Cambria"/>
              <a:ea typeface="ＭＳ 明朝"/>
              <a:cs typeface="Times New Roman"/>
            </a:endParaRPr>
          </a:p>
          <a:p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In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u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obort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equ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qu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obort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vel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Praesen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non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feugia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sapien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sed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rhoncu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</a:t>
            </a:r>
            <a:endParaRPr lang="en-US" sz="900" dirty="0">
              <a:effectLst/>
              <a:latin typeface="Cambria"/>
              <a:ea typeface="ＭＳ 明朝"/>
              <a:cs typeface="Times New Roman"/>
            </a:endParaRPr>
          </a:p>
          <a:p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U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wisi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ni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ad minim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venia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qu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ostrud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xerci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tation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ullamcorper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suscip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obort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isl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u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aliquip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ex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ommodo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onsequa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u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aute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vel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iriur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dolor in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hendrer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in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vulputat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vel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ss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molesti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onsequa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vel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ill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olor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u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feugia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ull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facilis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at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vero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ro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et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accumsan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et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iusto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odio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ignissi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qui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bland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praesen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uptat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zzril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elen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augu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u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olor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t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feuga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ull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facilisi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 </a:t>
            </a:r>
          </a:p>
          <a:p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Nam liber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tempor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cum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solut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ob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leifend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option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ongu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ihil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imperdie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doming id quod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mazi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placera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facer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possi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ass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 </a:t>
            </a:r>
          </a:p>
          <a:p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Typi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non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haben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laritate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insita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;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s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usu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egent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in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i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qui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fac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or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laritate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Investigatione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emonstraverun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ectore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eger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me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iu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quod ii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egun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saepiu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larita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s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tia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processu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ynamicu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qui sequitur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mutatione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onsuetudi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ector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 </a:t>
            </a:r>
          </a:p>
          <a:p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Mir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s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otare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quam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itter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gothic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quam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unc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putamu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par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lara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anteposueri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litterar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forma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humanitat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per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seacul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quart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ecim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et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quint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decima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Eode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modo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typi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qui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unc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nobi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videntur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par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clari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,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fiant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sollemnes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 in </a:t>
            </a:r>
            <a:r>
              <a:rPr lang="en-US" sz="1350" dirty="0" err="1">
                <a:effectLst/>
                <a:latin typeface="+mn-lt"/>
                <a:ea typeface="ＭＳ 明朝"/>
                <a:cs typeface="Times New Roman"/>
              </a:rPr>
              <a:t>futurum</a:t>
            </a:r>
            <a:r>
              <a:rPr lang="en-US" sz="1350" dirty="0">
                <a:effectLst/>
                <a:latin typeface="+mn-lt"/>
                <a:ea typeface="ＭＳ 明朝"/>
                <a:cs typeface="Times New Roman"/>
              </a:rPr>
              <a:t>.</a:t>
            </a:r>
            <a:endParaRPr lang="en-US" sz="900" dirty="0">
              <a:effectLst/>
              <a:latin typeface="Cambria"/>
              <a:ea typeface="ＭＳ 明朝"/>
              <a:cs typeface="Times New Roman"/>
            </a:endParaRPr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228600" y="4826480"/>
            <a:ext cx="6400800" cy="137160"/>
          </a:xfrm>
        </p:spPr>
        <p:txBody>
          <a:bodyPr/>
          <a:lstStyle/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8477918" y="4858147"/>
            <a:ext cx="41776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fld id="{655362CE-4ABE-4CB4-8947-B1242CDD9D94}" type="slidenum">
              <a:rPr lang="en-US" sz="700" smtClean="0">
                <a:solidFill>
                  <a:srgbClr val="5A5A5A"/>
                </a:solidFill>
                <a:cs typeface="Arial" panose="020B0604020202020204" pitchFamily="34" charset="0"/>
              </a:rPr>
              <a:pPr/>
              <a:t>‹#›</a:t>
            </a:fld>
            <a:endParaRPr lang="en-US" sz="700" dirty="0">
              <a:solidFill>
                <a:srgbClr val="5A5A5A"/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8234618" y="4858147"/>
            <a:ext cx="265995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700" dirty="0">
                <a:solidFill>
                  <a:srgbClr val="5A5A5A"/>
                </a:solidFill>
                <a:cs typeface="Arial" panose="020B0604020202020204" pitchFamily="34" charset="0"/>
              </a:rPr>
              <a:t>Page</a:t>
            </a:r>
          </a:p>
        </p:txBody>
      </p:sp>
    </p:spTree>
    <p:extLst>
      <p:ext uri="{BB962C8B-B14F-4D97-AF65-F5344CB8AC3E}">
        <p14:creationId xmlns:p14="http://schemas.microsoft.com/office/powerpoint/2010/main" val="20160998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, text, half-image"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Title Text"/>
          <p:cNvSpPr txBox="1">
            <a:spLocks noGrp="1"/>
          </p:cNvSpPr>
          <p:nvPr>
            <p:ph type="title"/>
          </p:nvPr>
        </p:nvSpPr>
        <p:spPr>
          <a:xfrm>
            <a:off x="210312" y="137668"/>
            <a:ext cx="4142233" cy="804673"/>
          </a:xfrm>
          <a:prstGeom prst="rect">
            <a:avLst/>
          </a:prstGeom>
        </p:spPr>
        <p:txBody>
          <a:bodyPr lIns="0" tIns="0" rIns="0" bIns="0"/>
          <a:lstStyle>
            <a:lvl1pPr defTabSz="914400">
              <a:lnSpc>
                <a:spcPct val="90000"/>
              </a:lnSpc>
              <a:defRPr sz="2400" b="0" spc="0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r>
              <a:t>Title Text</a:t>
            </a:r>
          </a:p>
        </p:txBody>
      </p:sp>
      <p:sp>
        <p:nvSpPr>
          <p:cNvPr id="302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219456" y="1243584"/>
            <a:ext cx="4123945" cy="3252217"/>
          </a:xfrm>
          <a:prstGeom prst="rect">
            <a:avLst/>
          </a:prstGeom>
        </p:spPr>
        <p:txBody>
          <a:bodyPr lIns="0" tIns="0" rIns="0" bIns="0"/>
          <a:lstStyle>
            <a:lvl1pPr marL="0" indent="0" defTabSz="914400">
              <a:lnSpc>
                <a:spcPct val="100000"/>
              </a:lnSpc>
              <a:spcBef>
                <a:spcPts val="1088"/>
              </a:spcBef>
              <a:buSzTx/>
              <a:buNone/>
              <a:defRPr sz="1350">
                <a:latin typeface="IBM Plex Sans"/>
                <a:ea typeface="IBM Plex Sans"/>
                <a:cs typeface="IBM Plex Sans"/>
                <a:sym typeface="IBM Plex Sans"/>
              </a:defRPr>
            </a:lvl1pPr>
            <a:lvl2pPr marL="166675" indent="-167531" defTabSz="914400">
              <a:lnSpc>
                <a:spcPct val="100000"/>
              </a:lnSpc>
              <a:spcBef>
                <a:spcPts val="1088"/>
              </a:spcBef>
              <a:buSzPct val="100000"/>
              <a:buChar char="–"/>
              <a:defRPr sz="1350">
                <a:latin typeface="IBM Plex Sans"/>
                <a:ea typeface="IBM Plex Sans"/>
                <a:cs typeface="IBM Plex Sans"/>
                <a:sym typeface="IBM Plex Sans"/>
              </a:defRPr>
            </a:lvl2pPr>
            <a:lvl3pPr marL="230969" indent="-167531" defTabSz="914400">
              <a:lnSpc>
                <a:spcPct val="100000"/>
              </a:lnSpc>
              <a:spcBef>
                <a:spcPts val="1088"/>
              </a:spcBef>
              <a:buSzPct val="100000"/>
              <a:defRPr sz="1350">
                <a:latin typeface="IBM Plex Sans"/>
                <a:ea typeface="IBM Plex Sans"/>
                <a:cs typeface="IBM Plex Sans"/>
                <a:sym typeface="IBM Plex Sans"/>
              </a:defRPr>
            </a:lvl3pPr>
            <a:lvl4pPr marL="338127" indent="-167531" defTabSz="914400">
              <a:lnSpc>
                <a:spcPct val="100000"/>
              </a:lnSpc>
              <a:spcBef>
                <a:spcPts val="1088"/>
              </a:spcBef>
              <a:buSzPct val="100000"/>
              <a:buChar char="–"/>
              <a:defRPr sz="1350">
                <a:latin typeface="IBM Plex Sans"/>
                <a:ea typeface="IBM Plex Sans"/>
                <a:cs typeface="IBM Plex Sans"/>
                <a:sym typeface="IBM Plex Sans"/>
              </a:defRPr>
            </a:lvl4pPr>
            <a:lvl5pPr marL="403612" indent="-167531" defTabSz="914400">
              <a:lnSpc>
                <a:spcPct val="100000"/>
              </a:lnSpc>
              <a:spcBef>
                <a:spcPts val="1088"/>
              </a:spcBef>
              <a:buSzPct val="100000"/>
              <a:buChar char="»"/>
              <a:defRPr sz="1350">
                <a:latin typeface="IBM Plex Sans"/>
                <a:ea typeface="IBM Plex Sans"/>
                <a:cs typeface="IBM Plex Sans"/>
                <a:sym typeface="IBM Plex San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03" name="Picture Placeholder"/>
          <p:cNvSpPr>
            <a:spLocks noGrp="1"/>
          </p:cNvSpPr>
          <p:nvPr>
            <p:ph type="pic" idx="21"/>
          </p:nvPr>
        </p:nvSpPr>
        <p:spPr>
          <a:xfrm>
            <a:off x="4572000" y="-1"/>
            <a:ext cx="4572000" cy="51435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0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819131" y="4823619"/>
            <a:ext cx="96203" cy="95251"/>
          </a:xfrm>
          <a:prstGeom prst="rect">
            <a:avLst/>
          </a:prstGeom>
        </p:spPr>
        <p:txBody>
          <a:bodyPr lIns="0" tIns="0" rIns="0" bIns="0" anchor="ctr"/>
          <a:lstStyle>
            <a:lvl1pPr algn="r" defTabSz="685983">
              <a:defRPr sz="600">
                <a:latin typeface="IBM Plex Sans"/>
                <a:ea typeface="IBM Plex Sans"/>
                <a:cs typeface="IBM Plex Sans"/>
                <a:sym typeface="IBM Plex Sans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5479175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ft Ponts slide 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Confidential"/>
          <p:cNvSpPr txBox="1"/>
          <p:nvPr/>
        </p:nvSpPr>
        <p:spPr>
          <a:xfrm>
            <a:off x="429736" y="4809524"/>
            <a:ext cx="864554" cy="1461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>
              <a:lnSpc>
                <a:spcPct val="110000"/>
              </a:lnSpc>
              <a:defRPr sz="1800" b="0" spc="0">
                <a:solidFill>
                  <a:srgbClr val="26475B"/>
                </a:solidFill>
              </a:defRPr>
            </a:lvl1pPr>
          </a:lstStyle>
          <a:p>
            <a:r>
              <a:rPr sz="675"/>
              <a:t>IBM Confidential</a:t>
            </a:r>
          </a:p>
        </p:txBody>
      </p:sp>
      <p:sp>
        <p:nvSpPr>
          <p:cNvPr id="993" name="IBM Design | Hybrid cloud"/>
          <p:cNvSpPr txBox="1"/>
          <p:nvPr/>
        </p:nvSpPr>
        <p:spPr>
          <a:xfrm>
            <a:off x="3904774" y="4809524"/>
            <a:ext cx="1334453" cy="1461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ctr">
              <a:lnSpc>
                <a:spcPct val="110000"/>
              </a:lnSpc>
              <a:defRPr sz="1800" b="0" spc="0">
                <a:solidFill>
                  <a:srgbClr val="26475B"/>
                </a:solidFill>
              </a:defRPr>
            </a:lvl1pPr>
          </a:lstStyle>
          <a:p>
            <a:r>
              <a:rPr sz="675"/>
              <a:t>IBM Cloud Platform </a:t>
            </a:r>
          </a:p>
        </p:txBody>
      </p:sp>
      <p:sp>
        <p:nvSpPr>
          <p:cNvPr id="994" name="Text"/>
          <p:cNvSpPr txBox="1">
            <a:spLocks noGrp="1"/>
          </p:cNvSpPr>
          <p:nvPr>
            <p:ph type="body" sz="quarter" idx="13"/>
          </p:nvPr>
        </p:nvSpPr>
        <p:spPr>
          <a:xfrm>
            <a:off x="8603890" y="4771726"/>
            <a:ext cx="220028" cy="221727"/>
          </a:xfrm>
          <a:prstGeom prst="rect">
            <a:avLst/>
          </a:prstGeom>
        </p:spPr>
        <p:txBody>
          <a:bodyPr lIns="50800" tIns="50800" rIns="50800" bIns="50800" anchor="ctr"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750" b="0" spc="0">
                <a:solidFill>
                  <a:srgbClr val="26475B"/>
                </a:solidFill>
              </a:defRPr>
            </a:lvl1pPr>
          </a:lstStyle>
          <a:p>
            <a:fld id="{86CB4B4D-7CA3-9044-876B-883B54F8677D}" type="slidenum">
              <a:t>​</a:t>
            </a:fld>
            <a:endParaRPr/>
          </a:p>
        </p:txBody>
      </p:sp>
      <p:sp>
        <p:nvSpPr>
          <p:cNvPr id="995" name="Rectangle"/>
          <p:cNvSpPr>
            <a:spLocks noGrp="1"/>
          </p:cNvSpPr>
          <p:nvPr>
            <p:ph type="body" sz="quarter" idx="14"/>
          </p:nvPr>
        </p:nvSpPr>
        <p:spPr>
          <a:xfrm>
            <a:off x="682625" y="766989"/>
            <a:ext cx="1142629" cy="64267"/>
          </a:xfrm>
          <a:prstGeom prst="rect">
            <a:avLst/>
          </a:prstGeom>
          <a:solidFill>
            <a:srgbClr val="A875FC"/>
          </a:solidFill>
        </p:spPr>
        <p:txBody>
          <a:bodyPr lIns="71436" tIns="71436" rIns="71436" bIns="71436" anchor="ctr"/>
          <a:lstStyle>
            <a:lvl1pPr defTabSz="619125">
              <a:lnSpc>
                <a:spcPct val="150000"/>
              </a:lnSpc>
              <a:spcBef>
                <a:spcPts val="0"/>
              </a:spcBef>
              <a:defRPr sz="3200" b="0" spc="0">
                <a:solidFill>
                  <a:srgbClr val="26475B"/>
                </a:solidFill>
              </a:defRPr>
            </a:lvl1pPr>
          </a:lstStyle>
          <a:p>
            <a:pPr defTabSz="825500">
              <a:lnSpc>
                <a:spcPct val="150000"/>
              </a:lnSpc>
              <a:spcBef>
                <a:spcPts val="0"/>
              </a:spcBef>
              <a:defRPr sz="3200" b="0" spc="0">
                <a:solidFill>
                  <a:srgbClr val="26475B"/>
                </a:solidFill>
              </a:defRPr>
            </a:pPr>
            <a:endParaRPr/>
          </a:p>
        </p:txBody>
      </p:sp>
      <p:sp>
        <p:nvSpPr>
          <p:cNvPr id="996" name="Right big  image slide"/>
          <p:cNvSpPr txBox="1">
            <a:spLocks noGrp="1"/>
          </p:cNvSpPr>
          <p:nvPr>
            <p:ph type="body" sz="quarter" idx="15"/>
          </p:nvPr>
        </p:nvSpPr>
        <p:spPr>
          <a:xfrm>
            <a:off x="672567" y="889220"/>
            <a:ext cx="2510124" cy="744002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80000"/>
              </a:lnSpc>
              <a:spcBef>
                <a:spcPts val="0"/>
              </a:spcBef>
              <a:defRPr sz="3000" b="0" spc="0">
                <a:solidFill>
                  <a:srgbClr val="595959"/>
                </a:solidFill>
                <a:latin typeface="IBM Plex Sans Medium"/>
                <a:ea typeface="IBM Plex Sans Medium"/>
                <a:cs typeface="IBM Plex Sans Medium"/>
                <a:sym typeface="IBM Plex Sans Medium"/>
              </a:defRPr>
            </a:lvl1pPr>
          </a:lstStyle>
          <a:p>
            <a:r>
              <a:t>Left Points slide</a:t>
            </a:r>
          </a:p>
        </p:txBody>
      </p:sp>
      <p:sp>
        <p:nvSpPr>
          <p:cNvPr id="997" name="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 proponents of ideologies such as transhumanism and techno-progressivism view continued technological progress as beneficial to society and the human condition."/>
          <p:cNvSpPr txBox="1">
            <a:spLocks noGrp="1"/>
          </p:cNvSpPr>
          <p:nvPr>
            <p:ph type="body" sz="quarter" idx="16"/>
          </p:nvPr>
        </p:nvSpPr>
        <p:spPr>
          <a:xfrm>
            <a:off x="685267" y="3352506"/>
            <a:ext cx="2433925" cy="904876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750" b="0" spc="0">
                <a:solidFill>
                  <a:srgbClr val="595959"/>
                </a:solidFill>
              </a:defRPr>
            </a:lvl1pPr>
          </a:lstStyle>
          <a:p>
            <a:r>
              <a:t>Philosophical debates have arisen over the present and future use of technology in society, with disagreements over whether technology improves the human condition or worsens it. Neo-Luddism, anarcho-primitivism, and similar movements criticise the pervasiveness of technology in the modern world, opining that it harms the environment and alienates people;</a:t>
            </a:r>
          </a:p>
        </p:txBody>
      </p:sp>
      <p:sp>
        <p:nvSpPr>
          <p:cNvPr id="998" name="Philosophical debates have arisen over the present and future use of technology"/>
          <p:cNvSpPr txBox="1">
            <a:spLocks noGrp="1"/>
          </p:cNvSpPr>
          <p:nvPr>
            <p:ph type="body" sz="quarter" idx="17"/>
          </p:nvPr>
        </p:nvSpPr>
        <p:spPr>
          <a:xfrm>
            <a:off x="666217" y="2612366"/>
            <a:ext cx="2433925" cy="621965"/>
          </a:xfrm>
          <a:prstGeom prst="rect">
            <a:avLst/>
          </a:prstGeom>
        </p:spPr>
        <p:txBody>
          <a:bodyPr lIns="50800" tIns="50800" rIns="50800" bIns="50800">
            <a:spAutoFit/>
          </a:bodyPr>
          <a:lstStyle>
            <a:lvl1pPr defTabSz="309563">
              <a:spcBef>
                <a:spcPts val="0"/>
              </a:spcBef>
              <a:defRPr sz="1125" b="0" cap="all" spc="56">
                <a:solidFill>
                  <a:srgbClr val="595959"/>
                </a:solidFill>
              </a:defRPr>
            </a:lvl1pPr>
          </a:lstStyle>
          <a:p>
            <a:r>
              <a:t>Philosophical debates have arisen over the present and future use of technology</a:t>
            </a:r>
          </a:p>
        </p:txBody>
      </p:sp>
      <p:sp>
        <p:nvSpPr>
          <p:cNvPr id="999" name="Rounded Rectangle"/>
          <p:cNvSpPr>
            <a:spLocks noGrp="1"/>
          </p:cNvSpPr>
          <p:nvPr>
            <p:ph type="body" sz="quarter" idx="18"/>
          </p:nvPr>
        </p:nvSpPr>
        <p:spPr>
          <a:xfrm>
            <a:off x="3811217" y="780623"/>
            <a:ext cx="288926" cy="288926"/>
          </a:xfrm>
          <a:prstGeom prst="roundRect">
            <a:avLst>
              <a:gd name="adj" fmla="val 50000"/>
            </a:avLst>
          </a:prstGeom>
          <a:solidFill>
            <a:srgbClr val="595959"/>
          </a:solidFill>
        </p:spPr>
        <p:txBody>
          <a:bodyPr lIns="71436" tIns="71436" rIns="71436" bIns="71436" anchor="ctr"/>
          <a:lstStyle>
            <a:lvl1pPr defTabSz="619125">
              <a:lnSpc>
                <a:spcPct val="90000"/>
              </a:lnSpc>
              <a:spcBef>
                <a:spcPts val="0"/>
              </a:spcBef>
              <a:defRPr spc="792">
                <a:solidFill>
                  <a:srgbClr val="26475B"/>
                </a:solidFill>
              </a:defRPr>
            </a:lvl1pPr>
          </a:lstStyle>
          <a:p>
            <a:pPr defTabSz="825500">
              <a:lnSpc>
                <a:spcPct val="90000"/>
              </a:lnSpc>
              <a:spcBef>
                <a:spcPts val="0"/>
              </a:spcBef>
              <a:defRPr spc="792">
                <a:solidFill>
                  <a:srgbClr val="26475B"/>
                </a:solidFill>
              </a:defRPr>
            </a:pPr>
            <a:endParaRPr/>
          </a:p>
        </p:txBody>
      </p:sp>
      <p:sp>
        <p:nvSpPr>
          <p:cNvPr id="1000" name="1"/>
          <p:cNvSpPr txBox="1">
            <a:spLocks noGrp="1"/>
          </p:cNvSpPr>
          <p:nvPr>
            <p:ph type="body" sz="quarter" idx="19"/>
          </p:nvPr>
        </p:nvSpPr>
        <p:spPr>
          <a:xfrm>
            <a:off x="3833053" y="781615"/>
            <a:ext cx="245257" cy="414341"/>
          </a:xfrm>
          <a:prstGeom prst="rect">
            <a:avLst/>
          </a:prstGeom>
        </p:spPr>
        <p:txBody>
          <a:bodyPr wrap="none" lIns="71436" tIns="71436" rIns="71436" bIns="71436">
            <a:spAutoFit/>
          </a:bodyPr>
          <a:lstStyle>
            <a:lvl1pPr algn="ctr" defTabSz="309563">
              <a:lnSpc>
                <a:spcPct val="150000"/>
              </a:lnSpc>
              <a:spcBef>
                <a:spcPts val="0"/>
              </a:spcBef>
              <a:defRPr sz="1313" spc="0"/>
            </a:lvl1pPr>
          </a:lstStyle>
          <a:p>
            <a:r>
              <a:t>1</a:t>
            </a:r>
          </a:p>
        </p:txBody>
      </p:sp>
      <p:sp>
        <p:nvSpPr>
          <p:cNvPr id="1001" name="1st point"/>
          <p:cNvSpPr txBox="1">
            <a:spLocks noGrp="1"/>
          </p:cNvSpPr>
          <p:nvPr>
            <p:ph type="body" sz="quarter" idx="20"/>
          </p:nvPr>
        </p:nvSpPr>
        <p:spPr>
          <a:xfrm>
            <a:off x="4180002" y="2719093"/>
            <a:ext cx="1809751" cy="155523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975" spc="49">
                <a:solidFill>
                  <a:srgbClr val="595959"/>
                </a:solidFill>
              </a:defRPr>
            </a:lvl1pPr>
          </a:lstStyle>
          <a:p>
            <a:r>
              <a:t>Philosophical debates</a:t>
            </a:r>
          </a:p>
        </p:txBody>
      </p:sp>
      <p:sp>
        <p:nvSpPr>
          <p:cNvPr id="1002" name="Philosophical debates have arisen over the present and future use of technology Philosophical debates have arisen over the present and future use of technology"/>
          <p:cNvSpPr txBox="1">
            <a:spLocks noGrp="1"/>
          </p:cNvSpPr>
          <p:nvPr>
            <p:ph type="body" sz="quarter" idx="21"/>
          </p:nvPr>
        </p:nvSpPr>
        <p:spPr>
          <a:xfrm>
            <a:off x="4180001" y="2952534"/>
            <a:ext cx="1908176" cy="1297782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750" b="0" spc="0">
                <a:solidFill>
                  <a:srgbClr val="595959"/>
                </a:solidFill>
              </a:defRPr>
            </a:lvl1pPr>
          </a:lstStyle>
          <a:p>
            <a:r>
              <a:t>Philosophical debates have arisen over the present and future use of technology Philosophical debates have arisen over the Neo-Luddism, anarcho-primitivism, and similar movements criticise the evasiveness of technology in the modern world, opining that it harms the environment and alienates people;technology in the modern world, opining that it harms the environment and alienates people;</a:t>
            </a:r>
          </a:p>
        </p:txBody>
      </p:sp>
      <p:sp>
        <p:nvSpPr>
          <p:cNvPr id="1003" name="1st point"/>
          <p:cNvSpPr txBox="1">
            <a:spLocks noGrp="1"/>
          </p:cNvSpPr>
          <p:nvPr>
            <p:ph type="body" sz="quarter" idx="22"/>
          </p:nvPr>
        </p:nvSpPr>
        <p:spPr>
          <a:xfrm>
            <a:off x="6751752" y="743717"/>
            <a:ext cx="1809751" cy="155523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975" spc="49">
                <a:solidFill>
                  <a:srgbClr val="595959"/>
                </a:solidFill>
              </a:defRPr>
            </a:lvl1pPr>
          </a:lstStyle>
          <a:p>
            <a:r>
              <a:t>Philosophical debates</a:t>
            </a:r>
          </a:p>
        </p:txBody>
      </p:sp>
      <p:sp>
        <p:nvSpPr>
          <p:cNvPr id="1004" name="Philosophical debates have arisen over the present and future use of technology Philosophical debates have arisen over the present and future use of technology"/>
          <p:cNvSpPr txBox="1">
            <a:spLocks noGrp="1"/>
          </p:cNvSpPr>
          <p:nvPr>
            <p:ph type="body" sz="quarter" idx="23"/>
          </p:nvPr>
        </p:nvSpPr>
        <p:spPr>
          <a:xfrm>
            <a:off x="6751751" y="977158"/>
            <a:ext cx="1908176" cy="1297782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750" b="0" spc="0">
                <a:solidFill>
                  <a:srgbClr val="595959"/>
                </a:solidFill>
              </a:defRPr>
            </a:lvl1pPr>
          </a:lstStyle>
          <a:p>
            <a:r>
              <a:t>Philosophical debates have arisen over the present and future use of technology Philosophical debates have arisen over the Neo-Luddism, anarcho-primitivism, and similar movements criticise the evasiveness of technology in the modern world, opining that it harms the environment and alienates people;technology in the modern world, opining that it harms the environment and alienates people;</a:t>
            </a:r>
          </a:p>
        </p:txBody>
      </p:sp>
      <p:sp>
        <p:nvSpPr>
          <p:cNvPr id="1005" name="1st point"/>
          <p:cNvSpPr txBox="1">
            <a:spLocks noGrp="1"/>
          </p:cNvSpPr>
          <p:nvPr>
            <p:ph type="body" sz="quarter" idx="24"/>
          </p:nvPr>
        </p:nvSpPr>
        <p:spPr>
          <a:xfrm>
            <a:off x="6751752" y="2719093"/>
            <a:ext cx="1809751" cy="155523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975" spc="49">
                <a:solidFill>
                  <a:srgbClr val="595959"/>
                </a:solidFill>
              </a:defRPr>
            </a:lvl1pPr>
          </a:lstStyle>
          <a:p>
            <a:r>
              <a:t>Philosophical debates</a:t>
            </a:r>
          </a:p>
        </p:txBody>
      </p:sp>
      <p:sp>
        <p:nvSpPr>
          <p:cNvPr id="1006" name="Philosophical debates have arisen over the present and future use of technology Philosophical debates have arisen over the present and future use of technology"/>
          <p:cNvSpPr txBox="1">
            <a:spLocks noGrp="1"/>
          </p:cNvSpPr>
          <p:nvPr>
            <p:ph type="body" sz="quarter" idx="25"/>
          </p:nvPr>
        </p:nvSpPr>
        <p:spPr>
          <a:xfrm>
            <a:off x="6751751" y="2952534"/>
            <a:ext cx="1908176" cy="1297782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750" b="0" spc="0">
                <a:solidFill>
                  <a:srgbClr val="595959"/>
                </a:solidFill>
              </a:defRPr>
            </a:lvl1pPr>
          </a:lstStyle>
          <a:p>
            <a:r>
              <a:t>Philosophical debates have arisen over the present and future use of technology Philosophical debates have arisen over the Neo-Luddism, anarcho-primitivism, and similar movements criticise the evasiveness of technology in the modern world, opining that it harms the environment and alienates people;technology in the modern world, opining that it harms the environment and alienates people;</a:t>
            </a:r>
          </a:p>
        </p:txBody>
      </p:sp>
      <p:sp>
        <p:nvSpPr>
          <p:cNvPr id="1007" name="Rounded Rectangle"/>
          <p:cNvSpPr>
            <a:spLocks noGrp="1"/>
          </p:cNvSpPr>
          <p:nvPr>
            <p:ph type="body" sz="quarter" idx="26"/>
          </p:nvPr>
        </p:nvSpPr>
        <p:spPr>
          <a:xfrm>
            <a:off x="6382967" y="780623"/>
            <a:ext cx="288926" cy="288926"/>
          </a:xfrm>
          <a:prstGeom prst="roundRect">
            <a:avLst>
              <a:gd name="adj" fmla="val 50000"/>
            </a:avLst>
          </a:prstGeom>
          <a:solidFill>
            <a:srgbClr val="595959"/>
          </a:solidFill>
        </p:spPr>
        <p:txBody>
          <a:bodyPr lIns="71436" tIns="71436" rIns="71436" bIns="71436" anchor="ctr"/>
          <a:lstStyle>
            <a:lvl1pPr defTabSz="619125">
              <a:lnSpc>
                <a:spcPct val="90000"/>
              </a:lnSpc>
              <a:spcBef>
                <a:spcPts val="0"/>
              </a:spcBef>
              <a:defRPr spc="792">
                <a:solidFill>
                  <a:srgbClr val="26475B"/>
                </a:solidFill>
              </a:defRPr>
            </a:lvl1pPr>
          </a:lstStyle>
          <a:p>
            <a:pPr defTabSz="825500">
              <a:lnSpc>
                <a:spcPct val="90000"/>
              </a:lnSpc>
              <a:spcBef>
                <a:spcPts val="0"/>
              </a:spcBef>
              <a:defRPr spc="792">
                <a:solidFill>
                  <a:srgbClr val="26475B"/>
                </a:solidFill>
              </a:defRPr>
            </a:pPr>
            <a:endParaRPr/>
          </a:p>
        </p:txBody>
      </p:sp>
      <p:sp>
        <p:nvSpPr>
          <p:cNvPr id="1008" name="2"/>
          <p:cNvSpPr txBox="1">
            <a:spLocks noGrp="1"/>
          </p:cNvSpPr>
          <p:nvPr>
            <p:ph type="body" sz="quarter" idx="27"/>
          </p:nvPr>
        </p:nvSpPr>
        <p:spPr>
          <a:xfrm>
            <a:off x="6404803" y="781615"/>
            <a:ext cx="245257" cy="414341"/>
          </a:xfrm>
          <a:prstGeom prst="rect">
            <a:avLst/>
          </a:prstGeom>
        </p:spPr>
        <p:txBody>
          <a:bodyPr wrap="none" lIns="71436" tIns="71436" rIns="71436" bIns="71436">
            <a:spAutoFit/>
          </a:bodyPr>
          <a:lstStyle>
            <a:lvl1pPr algn="ctr" defTabSz="309563">
              <a:lnSpc>
                <a:spcPct val="150000"/>
              </a:lnSpc>
              <a:spcBef>
                <a:spcPts val="0"/>
              </a:spcBef>
              <a:defRPr sz="1313" spc="0"/>
            </a:lvl1pPr>
          </a:lstStyle>
          <a:p>
            <a:r>
              <a:t>2</a:t>
            </a:r>
          </a:p>
        </p:txBody>
      </p:sp>
      <p:sp>
        <p:nvSpPr>
          <p:cNvPr id="1009" name="Rounded Rectangle"/>
          <p:cNvSpPr>
            <a:spLocks noGrp="1"/>
          </p:cNvSpPr>
          <p:nvPr>
            <p:ph type="body" sz="quarter" idx="28"/>
          </p:nvPr>
        </p:nvSpPr>
        <p:spPr>
          <a:xfrm>
            <a:off x="3811217" y="2746510"/>
            <a:ext cx="288926" cy="288926"/>
          </a:xfrm>
          <a:prstGeom prst="roundRect">
            <a:avLst>
              <a:gd name="adj" fmla="val 50000"/>
            </a:avLst>
          </a:prstGeom>
          <a:solidFill>
            <a:srgbClr val="595959"/>
          </a:solidFill>
        </p:spPr>
        <p:txBody>
          <a:bodyPr lIns="71436" tIns="71436" rIns="71436" bIns="71436" anchor="ctr"/>
          <a:lstStyle>
            <a:lvl1pPr defTabSz="619125">
              <a:lnSpc>
                <a:spcPct val="90000"/>
              </a:lnSpc>
              <a:spcBef>
                <a:spcPts val="0"/>
              </a:spcBef>
              <a:defRPr spc="792">
                <a:solidFill>
                  <a:srgbClr val="26475B"/>
                </a:solidFill>
              </a:defRPr>
            </a:lvl1pPr>
          </a:lstStyle>
          <a:p>
            <a:pPr defTabSz="825500">
              <a:lnSpc>
                <a:spcPct val="90000"/>
              </a:lnSpc>
              <a:spcBef>
                <a:spcPts val="0"/>
              </a:spcBef>
              <a:defRPr spc="792">
                <a:solidFill>
                  <a:srgbClr val="26475B"/>
                </a:solidFill>
              </a:defRPr>
            </a:pPr>
            <a:endParaRPr/>
          </a:p>
        </p:txBody>
      </p:sp>
      <p:sp>
        <p:nvSpPr>
          <p:cNvPr id="1010" name="3"/>
          <p:cNvSpPr txBox="1">
            <a:spLocks noGrp="1"/>
          </p:cNvSpPr>
          <p:nvPr>
            <p:ph type="body" sz="quarter" idx="29"/>
          </p:nvPr>
        </p:nvSpPr>
        <p:spPr>
          <a:xfrm>
            <a:off x="3833053" y="2747502"/>
            <a:ext cx="245257" cy="414341"/>
          </a:xfrm>
          <a:prstGeom prst="rect">
            <a:avLst/>
          </a:prstGeom>
        </p:spPr>
        <p:txBody>
          <a:bodyPr wrap="none" lIns="71436" tIns="71436" rIns="71436" bIns="71436">
            <a:spAutoFit/>
          </a:bodyPr>
          <a:lstStyle>
            <a:lvl1pPr algn="ctr" defTabSz="309563">
              <a:lnSpc>
                <a:spcPct val="150000"/>
              </a:lnSpc>
              <a:spcBef>
                <a:spcPts val="0"/>
              </a:spcBef>
              <a:defRPr sz="1313" spc="0"/>
            </a:lvl1pPr>
          </a:lstStyle>
          <a:p>
            <a:r>
              <a:t>3</a:t>
            </a:r>
          </a:p>
        </p:txBody>
      </p:sp>
      <p:sp>
        <p:nvSpPr>
          <p:cNvPr id="1011" name="Rounded Rectangle"/>
          <p:cNvSpPr>
            <a:spLocks noGrp="1"/>
          </p:cNvSpPr>
          <p:nvPr>
            <p:ph type="body" sz="quarter" idx="30"/>
          </p:nvPr>
        </p:nvSpPr>
        <p:spPr>
          <a:xfrm>
            <a:off x="6382967" y="2746510"/>
            <a:ext cx="288926" cy="288926"/>
          </a:xfrm>
          <a:prstGeom prst="roundRect">
            <a:avLst>
              <a:gd name="adj" fmla="val 50000"/>
            </a:avLst>
          </a:prstGeom>
          <a:solidFill>
            <a:srgbClr val="595959"/>
          </a:solidFill>
        </p:spPr>
        <p:txBody>
          <a:bodyPr lIns="71436" tIns="71436" rIns="71436" bIns="71436" anchor="ctr"/>
          <a:lstStyle>
            <a:lvl1pPr defTabSz="619125">
              <a:lnSpc>
                <a:spcPct val="90000"/>
              </a:lnSpc>
              <a:spcBef>
                <a:spcPts val="0"/>
              </a:spcBef>
              <a:defRPr spc="792">
                <a:solidFill>
                  <a:srgbClr val="26475B"/>
                </a:solidFill>
              </a:defRPr>
            </a:lvl1pPr>
          </a:lstStyle>
          <a:p>
            <a:pPr defTabSz="825500">
              <a:lnSpc>
                <a:spcPct val="90000"/>
              </a:lnSpc>
              <a:spcBef>
                <a:spcPts val="0"/>
              </a:spcBef>
              <a:defRPr spc="792">
                <a:solidFill>
                  <a:srgbClr val="26475B"/>
                </a:solidFill>
              </a:defRPr>
            </a:pPr>
            <a:endParaRPr/>
          </a:p>
        </p:txBody>
      </p:sp>
      <p:sp>
        <p:nvSpPr>
          <p:cNvPr id="1012" name="4"/>
          <p:cNvSpPr txBox="1">
            <a:spLocks noGrp="1"/>
          </p:cNvSpPr>
          <p:nvPr>
            <p:ph type="body" sz="quarter" idx="31"/>
          </p:nvPr>
        </p:nvSpPr>
        <p:spPr>
          <a:xfrm>
            <a:off x="6404803" y="2747502"/>
            <a:ext cx="245257" cy="414341"/>
          </a:xfrm>
          <a:prstGeom prst="rect">
            <a:avLst/>
          </a:prstGeom>
        </p:spPr>
        <p:txBody>
          <a:bodyPr wrap="none" lIns="71436" tIns="71436" rIns="71436" bIns="71436">
            <a:spAutoFit/>
          </a:bodyPr>
          <a:lstStyle>
            <a:lvl1pPr algn="ctr" defTabSz="309563">
              <a:lnSpc>
                <a:spcPct val="150000"/>
              </a:lnSpc>
              <a:spcBef>
                <a:spcPts val="0"/>
              </a:spcBef>
              <a:defRPr sz="1313" spc="0"/>
            </a:lvl1pPr>
          </a:lstStyle>
          <a:p>
            <a:r>
              <a:t>4</a:t>
            </a:r>
          </a:p>
        </p:txBody>
      </p:sp>
      <p:sp>
        <p:nvSpPr>
          <p:cNvPr id="1013" name="1st point"/>
          <p:cNvSpPr txBox="1">
            <a:spLocks noGrp="1"/>
          </p:cNvSpPr>
          <p:nvPr>
            <p:ph type="body" sz="quarter" idx="32"/>
          </p:nvPr>
        </p:nvSpPr>
        <p:spPr>
          <a:xfrm>
            <a:off x="4180002" y="743717"/>
            <a:ext cx="1809751" cy="155523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975" spc="49">
                <a:solidFill>
                  <a:srgbClr val="595959"/>
                </a:solidFill>
              </a:defRPr>
            </a:lvl1pPr>
          </a:lstStyle>
          <a:p>
            <a:r>
              <a:t>Philosophical debates</a:t>
            </a:r>
          </a:p>
        </p:txBody>
      </p:sp>
      <p:sp>
        <p:nvSpPr>
          <p:cNvPr id="1014" name="Philosophical debates have arisen over the present and future use of technology Philosophical debates have arisen over the present and future use of technology"/>
          <p:cNvSpPr txBox="1">
            <a:spLocks noGrp="1"/>
          </p:cNvSpPr>
          <p:nvPr>
            <p:ph type="body" sz="quarter" idx="33"/>
          </p:nvPr>
        </p:nvSpPr>
        <p:spPr>
          <a:xfrm>
            <a:off x="4180001" y="977158"/>
            <a:ext cx="1908176" cy="1297782"/>
          </a:xfrm>
          <a:prstGeom prst="rect">
            <a:avLst/>
          </a:prstGeom>
        </p:spPr>
        <p:txBody>
          <a:bodyPr>
            <a:spAutoFit/>
          </a:bodyPr>
          <a:lstStyle>
            <a:lvl1pPr defTabSz="309563">
              <a:lnSpc>
                <a:spcPct val="110000"/>
              </a:lnSpc>
              <a:spcBef>
                <a:spcPts val="0"/>
              </a:spcBef>
              <a:defRPr sz="750" b="0" spc="0">
                <a:solidFill>
                  <a:srgbClr val="595959"/>
                </a:solidFill>
              </a:defRPr>
            </a:lvl1pPr>
          </a:lstStyle>
          <a:p>
            <a:r>
              <a:t>Philosophical debates have arisen over the present and future use of technology Philosophical debates have arisen over the Neo-Luddism, anarcho-primitivism, and similar movements criticise the evasiveness of technology in the modern world, opining that it harms the environment and alienates people;technology in the modern world, opining that it harms the environment and alienates people;</a:t>
            </a:r>
          </a:p>
        </p:txBody>
      </p:sp>
      <p:sp>
        <p:nvSpPr>
          <p:cNvPr id="101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502299" y="4786409"/>
            <a:ext cx="203181" cy="192360"/>
          </a:xfrm>
          <a:prstGeom prst="rect">
            <a:avLst/>
          </a:prstGeom>
        </p:spPr>
        <p:txBody>
          <a:bodyPr lIns="50800" tIns="50800" rIns="50800" bIns="50800"/>
          <a:lstStyle>
            <a:lvl1pPr algn="ctr" defTabSz="309563">
              <a:defRPr sz="750" spc="0"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2092467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4D96B3D-969B-4028-943D-D0CFDBB1F0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4869656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AC44ACB-C6CE-5839-BBBF-060618E9CA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86100" y="4869657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88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1AA504A-5CB9-7651-8A7F-96FF4B08B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11590" y="4869657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1A2A8CE-C5FA-314C-88D4-D88F1FCB37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7952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A7055A2-0B5C-73F2-C2DB-FC7245A7AB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9144000" cy="4500563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2358033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04A9AD-5866-6BA4-C928-31A5F88EF1E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4533139"/>
            <a:ext cx="1851467" cy="428625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4A8A02-E5FB-018D-1574-2015680C3A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1488" y="4531778"/>
            <a:ext cx="1851467" cy="428625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8F6040-10C6-A4A5-7C1E-09A9F553C0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389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94803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23798D-A03E-2BC6-136A-14C1E387E723}"/>
              </a:ext>
            </a:extLst>
          </p:cNvPr>
          <p:cNvSpPr/>
          <p:nvPr userDrawn="1"/>
        </p:nvSpPr>
        <p:spPr bwMode="auto">
          <a:xfrm>
            <a:off x="0" y="1"/>
            <a:ext cx="9144000" cy="4500563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IBM Plex Sans Light"/>
              <a:buNone/>
              <a:tabLst/>
            </a:pPr>
            <a:endParaRPr kumimoji="0" lang="en-US" sz="525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1715095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8CADC67-06E4-9D0B-7A49-159C1E99D5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4533139"/>
            <a:ext cx="1851467" cy="428625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AFC6AD-C46B-8438-C789-096006859E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1488" y="4531778"/>
            <a:ext cx="1851467" cy="428625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D12723-D775-EE21-95A9-8E6D8BA4D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389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9580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1715095"/>
          </a:xfrm>
        </p:spPr>
        <p:txBody>
          <a:bodyPr/>
          <a:lstStyle>
            <a:lvl1pPr>
              <a:lnSpc>
                <a:spcPct val="100000"/>
              </a:lnSpc>
              <a:defRPr sz="322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A09496-D938-6EB1-106C-48C5E423E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389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107607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plain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1715095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3A2629C-3C99-5809-3D6C-46ACEB922F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000" y="4673727"/>
            <a:ext cx="4143431" cy="285750"/>
          </a:xfrm>
        </p:spPr>
        <p:txBody>
          <a:bodyPr anchor="b"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5E26C6-9CEF-2A61-0C64-FAACB68F53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389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748986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5690" y="213719"/>
            <a:ext cx="4142836" cy="471547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3787409" cy="3929658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35CD4FC-3A11-28F6-09EF-9089FE9596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666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917290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ry, half, business un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CD5B627-E439-376E-A00C-87BAFF059FD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85690" y="213719"/>
            <a:ext cx="4142836" cy="471547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3A412C-EE28-6248-612D-41BAAD7F0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630936"/>
            <a:ext cx="3786885" cy="3501628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6E74B7-8F2A-46A5-97C4-76677246C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5999" y="216027"/>
            <a:ext cx="3786885" cy="214313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0A3D1-7815-E46E-77D1-E2DC099B47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6665" y="4697611"/>
            <a:ext cx="614283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85675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1858324" cy="1715095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5443B4-0187-FC99-0FDE-8EB191B6C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5690" y="213719"/>
            <a:ext cx="1857133" cy="4286845"/>
          </a:xfrm>
        </p:spPr>
        <p:txBody>
          <a:bodyPr/>
          <a:lstStyle>
            <a:lvl1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A647AD3-098B-D1AB-C8D8-463E38402F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72583" y="213719"/>
            <a:ext cx="1855943" cy="4286845"/>
          </a:xfrm>
        </p:spPr>
        <p:txBody>
          <a:bodyPr/>
          <a:lstStyle>
            <a:lvl1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defTabSz="435472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5D1D2A7-CF30-5698-14FC-F71CB82D5B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028AA764-A00C-AFFF-7F3F-49A733DCD47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351957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4143431" cy="1072158"/>
          </a:xfrm>
        </p:spPr>
        <p:txBody>
          <a:bodyPr rIns="457200"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4B74093-A800-CB62-8607-A04D569204E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289B0F8-E9A7-CF76-E87F-8D4302E8D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161010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C7EC0-4BFB-A603-5703-0D692C626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476" y="157735"/>
            <a:ext cx="6427347" cy="3071813"/>
          </a:xfrm>
        </p:spPr>
        <p:txBody>
          <a:bodyPr/>
          <a:lstStyle>
            <a:lvl1pPr>
              <a:defRPr sz="6450" b="0" i="0">
                <a:solidFill>
                  <a:schemeClr val="tx2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6697187-0170-8894-23C9-28F80A0C3B2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C591478-AD3F-2EF7-29A4-36A887DC195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448463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8"/>
            <a:ext cx="3715457" cy="1072158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54631A-4ED7-F527-1CBC-9AF7BE2CB6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87097" y="168022"/>
            <a:ext cx="4140238" cy="321528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 marL="219451" indent="-219451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2pPr>
            <a:lvl3pPr marL="411470" indent="-219451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3pPr>
            <a:lvl4pPr marL="658352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2E6DCD-41A5-9DA3-C061-E8DA39B9905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7BE5947E-6D4A-9E09-E5A6-D31DBCAEE2C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522354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, stand-al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36957-63E4-1587-AB6D-C18AE4E04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57734"/>
            <a:ext cx="5497590" cy="3643908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2510822-3D1B-0CFC-3FF0-1E55DA550F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1FCFA7EA-8E9F-E01B-AB9C-B7BE7D3D11E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283384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20D7FD-6784-59C5-938D-4728A153F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6000" y="3487294"/>
            <a:ext cx="4143431" cy="1328738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9675" b="0" i="0">
                <a:solidFill>
                  <a:schemeClr val="accent1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↗︎00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F395CBF-E65B-9A42-BAE5-C2B2BD9B7B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5690" y="3486151"/>
            <a:ext cx="4142836" cy="1328738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sz="9675" b="0" i="0">
                <a:solidFill>
                  <a:schemeClr val="accent1"/>
                </a:solidFill>
                <a:latin typeface="IBM Plex Sans ExtraLight" panose="020B0303050203000203" pitchFamily="34" charset="0"/>
              </a:defRPr>
            </a:lvl1pPr>
          </a:lstStyle>
          <a:p>
            <a:r>
              <a:rPr lang="en-US" dirty="0"/>
              <a:t>+00%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285B0-4A1E-8885-0C0E-77D0ECA9CA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5689" y="216028"/>
            <a:ext cx="2857128" cy="23580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5E03B0-C633-E81D-0D42-3FCCAFD64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216028"/>
            <a:ext cx="2858318" cy="23580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44518A-7FBB-67DA-E35B-8BC0AAFC6062}"/>
              </a:ext>
            </a:extLst>
          </p:cNvPr>
          <p:cNvCxnSpPr/>
          <p:nvPr userDrawn="1"/>
        </p:nvCxnSpPr>
        <p:spPr bwMode="auto">
          <a:xfrm>
            <a:off x="4572000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160DC6C8-AF18-F14B-A164-C49B271F59A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F3E002C-97C5-3260-CB49-7E93DF3397C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44097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7476" y="159931"/>
            <a:ext cx="1855943" cy="714971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71393" y="161121"/>
            <a:ext cx="1855943" cy="713780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9987" y="161164"/>
            <a:ext cx="1856538" cy="715467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7"/>
            <a:ext cx="1855943" cy="1072158"/>
          </a:xfrm>
        </p:spPr>
        <p:txBody>
          <a:bodyPr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4516042"/>
            <a:ext cx="1856538" cy="428625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54863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5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88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874901"/>
            <a:ext cx="1856538" cy="362739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875496"/>
            <a:ext cx="1857133" cy="362506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3" y="874901"/>
            <a:ext cx="1857133" cy="3625067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5A7B871-06B9-0A3F-4D1D-A14D572C268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5DBF980-9C8F-3F7A-E896-C207BA2781B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998610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2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81813D-DA09-FCA0-D570-1E2D428C59E9}"/>
              </a:ext>
            </a:extLst>
          </p:cNvPr>
          <p:cNvCxnSpPr/>
          <p:nvPr userDrawn="1"/>
        </p:nvCxnSpPr>
        <p:spPr bwMode="auto">
          <a:xfrm>
            <a:off x="213095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4B48808-B77B-7E67-E7EA-BCC945D4D5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476" y="150877"/>
            <a:ext cx="1855943" cy="2000846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+000%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378CF2-9CD6-2749-A489-08A4608D0B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150877"/>
            <a:ext cx="4142836" cy="200084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1pPr>
            <a:lvl2pPr marL="294887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2pPr>
            <a:lvl3pPr marL="562342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3pPr>
            <a:lvl4pPr marL="857228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6C1F9D-1D2C-5BDA-E821-35CB4A8708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5476" y="2428875"/>
            <a:ext cx="1855943" cy="2000250"/>
          </a:xfrm>
        </p:spPr>
        <p:txBody>
          <a:bodyPr/>
          <a:lstStyle>
            <a:lvl1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2pPr>
            <a:lvl3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3pPr>
            <a:lvl4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4pPr>
            <a:lvl5pPr>
              <a:lnSpc>
                <a:spcPct val="100000"/>
              </a:lnSpc>
              <a:defRPr sz="322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+000M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97FE8A-75E3-6FC8-02DD-50E0A4C8C9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99987" y="2428875"/>
            <a:ext cx="4142836" cy="20002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1pPr>
            <a:lvl2pPr marL="294887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2pPr>
            <a:lvl3pPr marL="562342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3pPr>
            <a:lvl4pPr marL="857228" indent="-294887"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3225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EE9E1A-5619-752E-836B-A127FD2C7D7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837D060-1DA4-2AC5-AC63-E1AFDD163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263150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, 3 callouts, horizont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7931BB-B3EF-829C-B354-B048514D5138}"/>
              </a:ext>
            </a:extLst>
          </p:cNvPr>
          <p:cNvCxnSpPr/>
          <p:nvPr userDrawn="1"/>
        </p:nvCxnSpPr>
        <p:spPr bwMode="auto">
          <a:xfrm>
            <a:off x="2499987" y="3071813"/>
            <a:ext cx="6428538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103109C-6DA9-8F27-B4B1-EE276442E489}"/>
              </a:ext>
            </a:extLst>
          </p:cNvPr>
          <p:cNvCxnSpPr/>
          <p:nvPr userDrawn="1"/>
        </p:nvCxnSpPr>
        <p:spPr bwMode="auto">
          <a:xfrm>
            <a:off x="2499987" y="1500188"/>
            <a:ext cx="6428538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B79390-98CC-5F62-D373-F6646F767D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99987" y="154305"/>
            <a:ext cx="1856538" cy="1072158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r>
              <a:rPr lang="en-US" dirty="0"/>
              <a:t>00%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26D02D-89A9-0455-FACB-7B6D033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7"/>
            <a:ext cx="1855943" cy="1072158"/>
          </a:xfrm>
        </p:spPr>
        <p:txBody>
          <a:bodyPr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7E465D-4B5F-2DAE-57C4-590983308A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4516042"/>
            <a:ext cx="1856538" cy="428625"/>
          </a:xfrm>
        </p:spPr>
        <p:txBody>
          <a:bodyPr anchor="b"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DE7F16-A938-0D17-3BFA-034F142A8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89" y="216027"/>
            <a:ext cx="2857128" cy="107215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F3FD8FB-143C-CB66-123C-0495EB1C33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89" y="1643063"/>
            <a:ext cx="2857128" cy="107156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1063D1-FD79-491C-791B-87858EA0CB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89" y="3214688"/>
            <a:ext cx="2857128" cy="1071563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516E6B1-7020-1EA5-CDD4-B1FC6CE274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99987" y="1570483"/>
            <a:ext cx="1856538" cy="1071565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11D906-6DD0-910D-48BA-0C197C90AA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99989" y="3151252"/>
            <a:ext cx="1856537" cy="1071565"/>
          </a:xfrm>
        </p:spPr>
        <p:txBody>
          <a:bodyPr/>
          <a:lstStyle>
            <a:lvl1pPr>
              <a:lnSpc>
                <a:spcPct val="90000"/>
              </a:lnSpc>
              <a:defRPr sz="4875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00%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22EFDDC-A614-EFF6-CE30-E60F4DB9F75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5C67502-D618-DC10-9CCC-905693ABB58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526668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17B282-9F6A-839A-442D-69BC9DF374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1285876"/>
            <a:ext cx="1858324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2" y="1285876"/>
            <a:ext cx="1859514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78A9E4F-B41B-2A68-ED74-D619432AAB2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BB77C83-5304-5E09-3590-D4337DA42A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696497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short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2" y="1285876"/>
            <a:ext cx="185951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987" y="216028"/>
            <a:ext cx="185832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239EA8E-6B4C-405F-E7F6-ABB450E071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17261" y="1285876"/>
            <a:ext cx="1856538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BAB2974-AD95-0BF2-C41A-265AEF03B4F7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1285876"/>
            <a:ext cx="0" cy="3214688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B8CB8D-C4DB-E357-4948-59CD6A18A9DC}"/>
              </a:ext>
            </a:extLst>
          </p:cNvPr>
          <p:cNvCxnSpPr/>
          <p:nvPr userDrawn="1"/>
        </p:nvCxnSpPr>
        <p:spPr bwMode="auto">
          <a:xfrm>
            <a:off x="4570262" y="1285875"/>
            <a:ext cx="0" cy="32164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B5887E5-28C4-AA99-EBD5-E34B88F46F25}"/>
              </a:ext>
            </a:extLst>
          </p:cNvPr>
          <p:cNvCxnSpPr/>
          <p:nvPr userDrawn="1"/>
        </p:nvCxnSpPr>
        <p:spPr bwMode="auto">
          <a:xfrm>
            <a:off x="6857107" y="1285875"/>
            <a:ext cx="0" cy="321640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DB52D7E1-3828-A1B9-9239-637B1E2A543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69EE7B3-BC6A-6676-8FA2-607F9B08DA3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76013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head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2" y="1285876"/>
            <a:ext cx="1859514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987" y="216028"/>
            <a:ext cx="185832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6028"/>
            <a:ext cx="1857133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8"/>
            <a:ext cx="185951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6EB28FF-C21F-A83D-2D19-2242B76C6B09}"/>
              </a:ext>
            </a:extLst>
          </p:cNvPr>
          <p:cNvCxnSpPr/>
          <p:nvPr userDrawn="1"/>
        </p:nvCxnSpPr>
        <p:spPr bwMode="auto">
          <a:xfrm>
            <a:off x="2285702" y="213719"/>
            <a:ext cx="0" cy="4286845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A0E74-695D-C6F5-07CD-01209D58A70A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9E1AC9A-B000-435B-E4BC-54B09FB7957C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952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B96005D4-0874-989F-217D-8A2592F81D5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E3F3A850-F28F-F30E-5505-EA11791B0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213095" y="4801589"/>
            <a:ext cx="1858324" cy="1428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7477196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4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332-B5B5-4358-3C72-8B35F374A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7"/>
            <a:ext cx="1855943" cy="786408"/>
          </a:xfrm>
        </p:spPr>
        <p:txBody>
          <a:bodyPr/>
          <a:lstStyle>
            <a:lvl1pPr>
              <a:lnSpc>
                <a:spcPct val="110000"/>
              </a:lnSpc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9C4772-2960-241E-274D-18A4B5568D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1285876"/>
            <a:ext cx="1858324" cy="150018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3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27CF39F-F0FC-7815-2582-A13E0599BC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8C92137-8AC3-46D8-C9A2-F6F058938B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7389" y="1285876"/>
            <a:ext cx="185305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C380211-AA5F-2F8D-309F-DC766DF1EF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3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37C5D5A-A533-DB2D-8BBE-C9DAA013CA0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499987" y="216028"/>
            <a:ext cx="455998" cy="456057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81413BEF-DDD1-548F-409B-224DE030B67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90508" y="216028"/>
            <a:ext cx="455998" cy="456057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B37C3DBB-1177-5FC6-7F7F-E6C5931C96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071393" y="216028"/>
            <a:ext cx="455998" cy="456057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E782CF-665F-3C56-698C-16112EB19B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695107-5427-4D2D-F88F-89BA74127CBF}"/>
              </a:ext>
            </a:extLst>
          </p:cNvPr>
          <p:cNvCxnSpPr/>
          <p:nvPr userDrawn="1"/>
        </p:nvCxnSpPr>
        <p:spPr bwMode="auto">
          <a:xfrm>
            <a:off x="2285702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3B07B4A-5DB5-8126-EA79-502787053E82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D829559-0A72-8826-E06A-C6CCD39750A4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D2A45AB7-102C-FBDF-94FD-99783B6A5A1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9423886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1 wide column,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1855943" cy="428030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5690" y="1285876"/>
            <a:ext cx="3785695" cy="3214688"/>
          </a:xfrm>
        </p:spPr>
        <p:txBody>
          <a:bodyPr/>
          <a:lstStyle>
            <a:lvl1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9417" y="144019"/>
            <a:ext cx="1858324" cy="4280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sz="1050"/>
            </a:lvl2pPr>
            <a:lvl3pPr>
              <a:spcBef>
                <a:spcPts val="0"/>
              </a:spcBef>
              <a:defRPr sz="1050"/>
            </a:lvl3pPr>
            <a:lvl4pPr>
              <a:spcBef>
                <a:spcPts val="0"/>
              </a:spcBef>
              <a:defRPr sz="1050"/>
            </a:lvl4pPr>
            <a:lvl5pPr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03B922-FA59-5165-48BF-0B57DFD663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5C3B405E-94D1-4A09-C6BF-A66D9CBEF63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579526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wid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D46C39-902F-3DA0-AAF4-319DA8AE3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216028"/>
            <a:ext cx="2783985" cy="714971"/>
          </a:xfrm>
        </p:spPr>
        <p:txBody>
          <a:bodyPr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BA43D-8D00-4EDB-B803-D1EEE6CE2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5999" y="1285876"/>
            <a:ext cx="3786885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32DCE7C-29C5-BC86-B154-7DD0C4F05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90" y="1285876"/>
            <a:ext cx="3785695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A0F4B3-D63C-0D8F-2804-F97776F90E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38EC09FB-402F-F3CE-E1D2-51583F1BCCF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4312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1645" cy="171509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5690" y="216028"/>
            <a:ext cx="1857133" cy="4286845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71393" y="216028"/>
            <a:ext cx="1857133" cy="4286845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C7A51FE3-0F54-1487-47B4-164B5B802CA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557685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1A7-388D-D543-2C74-58FA1F3BC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216028"/>
            <a:ext cx="1857133" cy="1715095"/>
          </a:xfrm>
        </p:spPr>
        <p:txBody>
          <a:bodyPr/>
          <a:lstStyle>
            <a:lvl1pPr>
              <a:lnSpc>
                <a:spcPct val="10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E09569-73DF-2226-A7D7-ABBE84A470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5690" y="213719"/>
            <a:ext cx="1857133" cy="4286845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B0D0BB0-9896-0353-D972-26B687C3D8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71393" y="213719"/>
            <a:ext cx="1857133" cy="4286845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A54578-ECD5-347E-35A9-C3F93EB8CD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745FF4F8-7F82-E9C2-8046-C791019E169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913087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144019"/>
            <a:ext cx="4139265" cy="171509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6028"/>
            <a:ext cx="1857133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8"/>
            <a:ext cx="185951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2583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9BFC0CA6-CE6F-D94C-2967-FBF2240020C4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212064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E75BA-E283-08AE-B230-A89A2245C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1715095"/>
          </a:xfrm>
        </p:spPr>
        <p:txBody>
          <a:bodyPr rIns="0"/>
          <a:lstStyle>
            <a:lvl1pPr>
              <a:lnSpc>
                <a:spcPct val="10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AF10F27-0178-9C93-8741-F0241501B4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6028"/>
            <a:ext cx="1857133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7CD3DC6-7946-2D82-C3E4-10BC579C88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8"/>
            <a:ext cx="1859514" cy="57209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8D950-EA52-ABF9-D15D-C6C8FE94649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501ADC5-5846-FF23-F5DB-93E8D05863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3774" y="1285876"/>
            <a:ext cx="1857133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AE734E-170F-6CE2-C852-A644ACB8F40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CF1D655-1791-BEF3-D8AA-E589057E73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030303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olumns, dividers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1855943" cy="428030"/>
          </a:xfrm>
        </p:spPr>
        <p:txBody>
          <a:bodyPr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9E6C7C8-F097-FDD3-FF97-3FC4133BC6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0B684B-61D6-CF9E-57FC-892D7CEE8D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7242" y="1285876"/>
            <a:ext cx="1857133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0D5184-93C0-B658-7967-FBC78C38A5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2943" y="1285876"/>
            <a:ext cx="1859514" cy="3214688"/>
          </a:xfrm>
        </p:spPr>
        <p:txBody>
          <a:bodyPr/>
          <a:lstStyle>
            <a:lvl1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68579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37156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205735" indent="-68579"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spcBef>
                <a:spcPts val="0"/>
              </a:spcBef>
              <a:defRPr sz="75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92CE3F-FA6A-2FE0-0146-4BFD45CF2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00607" y="144019"/>
            <a:ext cx="1858324" cy="42803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defRPr sz="1050"/>
            </a:lvl2pPr>
            <a:lvl3pPr>
              <a:lnSpc>
                <a:spcPct val="90000"/>
              </a:lnSpc>
              <a:spcBef>
                <a:spcPts val="0"/>
              </a:spcBef>
              <a:defRPr sz="1050"/>
            </a:lvl3pPr>
            <a:lvl4pPr>
              <a:lnSpc>
                <a:spcPct val="90000"/>
              </a:lnSpc>
              <a:spcBef>
                <a:spcPts val="0"/>
              </a:spcBef>
              <a:defRPr sz="1050"/>
            </a:lvl4pPr>
            <a:lvl5pPr>
              <a:lnSpc>
                <a:spcPct val="90000"/>
              </a:lnSpc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E8FFEFF-CCD0-A436-418A-5FB8624CCC8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85690" y="216028"/>
            <a:ext cx="455998" cy="455423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84E55D7-CBB2-992D-3E77-5CB7B7CADA9C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071393" y="216028"/>
            <a:ext cx="456632" cy="456057"/>
          </a:xfrm>
        </p:spPr>
        <p:txBody>
          <a:bodyPr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B96A2B-2DD4-AEBB-75C4-9215E33D26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2744BD-C7A4-D538-2E19-AA279C025A21}"/>
              </a:ext>
            </a:extLst>
          </p:cNvPr>
          <p:cNvCxnSpPr/>
          <p:nvPr userDrawn="1"/>
        </p:nvCxnSpPr>
        <p:spPr bwMode="auto">
          <a:xfrm>
            <a:off x="4570262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DCE883F-3781-7F7E-8236-8BB5CEBAD77C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FE28AB83-26B6-464D-000B-077BBC1886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068266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 wide, pictogra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1099CB-CB87-D5D5-506D-4B49C0816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929259"/>
            <a:ext cx="2501177" cy="1143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C1DA3C4-E728-0E45-C91D-8EDF4B495F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89" y="928688"/>
            <a:ext cx="2499987" cy="1143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0565063-698E-31B0-B619-B99A9A0B3D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5999" y="3144393"/>
            <a:ext cx="2501178" cy="1143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E44FFD-1EB7-1873-F6D1-67DE839EF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91" y="3143250"/>
            <a:ext cx="2499987" cy="1143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1pPr>
            <a:lvl2pPr marL="150872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2pPr>
            <a:lvl3pPr marL="301745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3pPr>
            <a:lvl4pPr marL="418328" indent="-150872"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6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AB5158-BCB8-39EE-DA85-F2CD01699F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6000" y="216028"/>
            <a:ext cx="455998" cy="456057"/>
          </a:xfrm>
        </p:spPr>
        <p:txBody>
          <a:bodyPr anchor="ctr"/>
          <a:lstStyle>
            <a:lvl1pPr algn="ctr">
              <a:defRPr sz="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C3730E5-61EB-7405-CC85-AB04242CDB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785690" y="216028"/>
            <a:ext cx="455998" cy="456057"/>
          </a:xfrm>
        </p:spPr>
        <p:txBody>
          <a:bodyPr anchor="ctr"/>
          <a:lstStyle>
            <a:lvl1pPr algn="ctr">
              <a:defRPr sz="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2C94928-6A9B-2EA7-301C-71E5F2547C8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16000" y="2427733"/>
            <a:ext cx="455998" cy="456057"/>
          </a:xfrm>
        </p:spPr>
        <p:txBody>
          <a:bodyPr anchor="ctr"/>
          <a:lstStyle>
            <a:lvl1pPr algn="ctr">
              <a:defRPr sz="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E840026-2FAF-826F-DCFD-3FF0082B082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85690" y="2428876"/>
            <a:ext cx="455998" cy="456057"/>
          </a:xfrm>
        </p:spPr>
        <p:txBody>
          <a:bodyPr anchor="ctr"/>
          <a:lstStyle>
            <a:lvl1pPr algn="ctr">
              <a:defRPr sz="600"/>
            </a:lvl1pPr>
          </a:lstStyle>
          <a:p>
            <a:r>
              <a:rPr lang="en-US" dirty="0"/>
              <a:t>Pictogram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7BB90E-D2B7-D6BA-E8F5-B16C3F57F6F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A530A6-2F26-DA70-D0D9-6DD90453CEC1}"/>
              </a:ext>
            </a:extLst>
          </p:cNvPr>
          <p:cNvCxnSpPr/>
          <p:nvPr userDrawn="1"/>
        </p:nvCxnSpPr>
        <p:spPr bwMode="auto">
          <a:xfrm>
            <a:off x="4571405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5483A0-0E31-72CE-21C3-6248FAEBC09A}"/>
              </a:ext>
            </a:extLst>
          </p:cNvPr>
          <p:cNvCxnSpPr/>
          <p:nvPr userDrawn="1"/>
        </p:nvCxnSpPr>
        <p:spPr bwMode="auto">
          <a:xfrm>
            <a:off x="213095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Slide Number">
            <a:extLst>
              <a:ext uri="{FF2B5EF4-FFF2-40B4-BE49-F238E27FC236}">
                <a16:creationId xmlns:a16="http://schemas.microsoft.com/office/drawing/2014/main" id="{FDDCE3A8-54F6-70FC-38D0-2AF2D8AB71E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706804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630937"/>
            <a:ext cx="2142846" cy="853821"/>
          </a:xfrm>
        </p:spPr>
        <p:txBody>
          <a:bodyPr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6262" y="216027"/>
            <a:ext cx="1857133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7"/>
            <a:ext cx="1859514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1393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6000" y="216028"/>
            <a:ext cx="1858324" cy="428030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CE92126-B67C-8301-95D0-A821B804399E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818810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stacked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572644"/>
            <a:ext cx="4141050" cy="853821"/>
          </a:xfrm>
        </p:spPr>
        <p:txBody>
          <a:bodyPr rIns="457200"/>
          <a:lstStyle>
            <a:lvl1pPr>
              <a:lnSpc>
                <a:spcPct val="11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3717"/>
            <a:ext cx="1857133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3717"/>
            <a:ext cx="1859514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1393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D46B95-CF19-9C3F-1691-68ABF62095B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9EF9E2-1551-8357-22BD-8C43EF5EBE3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6000" y="216028"/>
            <a:ext cx="1858324" cy="168021"/>
          </a:xfrm>
        </p:spPr>
        <p:txBody>
          <a:bodyPr/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351E8F-C586-866F-37A3-340B3DD347B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200265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8324" cy="1715095"/>
          </a:xfrm>
        </p:spPr>
        <p:txBody>
          <a:bodyPr/>
          <a:lstStyle>
            <a:lvl1pPr>
              <a:lnSpc>
                <a:spcPct val="10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2496313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498391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7288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3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D0BCD34-4CA7-388C-5244-7DC8F9F36FA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191766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4 horizontal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4353C-7670-AC55-CDA3-888971A54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43431" cy="1715095"/>
          </a:xfrm>
        </p:spPr>
        <p:txBody>
          <a:bodyPr rIns="4572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71C2BF-857E-B291-7D82-5920AF4A52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6000" y="2496313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57EC586-7CBB-7AC4-C2FA-85F4BA8AA0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00772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0ABD1EA-F6CD-F56B-B5E1-034EEB64D6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7288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0F2DD97F-E181-3C33-32D8-844B57967D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71393" y="2500314"/>
            <a:ext cx="1855943" cy="2004344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76B22-9748-7A34-9D32-D77BB1B498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38163DF-77AB-875A-C8AC-2F8AEABFB85F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763882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740D-848C-40A7-AB96-E7B74E0A8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1715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93A9C8C-F98C-5899-BE8B-D1A544D66C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5690" y="216027"/>
            <a:ext cx="1857133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A62B128-D226-0D9B-89EC-51AFD07F30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71392" y="216027"/>
            <a:ext cx="1859514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DD5CF1-28D6-74AF-B345-5911CB10D4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5690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B1C684-915C-90D4-C69F-C24979A42E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1393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D44C30-196F-B4B1-540A-E556579735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499417" y="216027"/>
            <a:ext cx="1857133" cy="192940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B1A268B-43F5-F600-93B7-6248877F5D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0607" y="2500313"/>
            <a:ext cx="1857133" cy="1857375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A4BD59-9F51-7E32-8659-A763D0799E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80E7AB4-F0E4-7C09-7FE7-9F182217FE0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81500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3A5819-78ED-4475-16CD-65C8A2C5E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7"/>
            <a:ext cx="1855943" cy="1072158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148C06-F3C6-0E95-A225-29F730DD15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99987" y="500063"/>
            <a:ext cx="1856538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1FD5E03-A007-B728-4616-E05622A43A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91" y="500063"/>
            <a:ext cx="1857133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EC06719-7195-BBE7-0154-56A039A4B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71393" y="500063"/>
            <a:ext cx="1857133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704E464-B0E0-CDD0-B14B-FA6386285A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99987" y="2786063"/>
            <a:ext cx="1856538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96B64B8-6DA8-8704-DD30-37587B3E68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85690" y="2786063"/>
            <a:ext cx="1856538" cy="1422256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965C82-A0A6-A670-C10A-6073DD3549E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71393" y="2786063"/>
            <a:ext cx="1857133" cy="1428750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  <a:lvl2pPr marL="82294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2pPr>
            <a:lvl3pPr marL="164588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3pPr>
            <a:lvl4pPr marL="246882" indent="-82294"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D1F0C48-79E5-E356-43FC-0FCF2DE89A2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99987" y="21602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18E9E323-0756-7849-8F52-19C58A517BD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85690" y="21602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7C3BFFDB-5499-B3D7-98B2-1ABDA7D5C9D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1393" y="21602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00295A2-8D30-455D-EBB9-FA7A4679193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499987" y="251048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0" name="Picture Placeholder 15">
            <a:extLst>
              <a:ext uri="{FF2B5EF4-FFF2-40B4-BE49-F238E27FC236}">
                <a16:creationId xmlns:a16="http://schemas.microsoft.com/office/drawing/2014/main" id="{F30F0F2C-CA19-3A79-4375-EB8A00FA88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785690" y="251048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354D8C6-F61D-3FC1-07F8-FEE730E2D7A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071393" y="2510488"/>
            <a:ext cx="150856" cy="151209"/>
          </a:xfrm>
        </p:spPr>
        <p:txBody>
          <a:bodyPr/>
          <a:lstStyle>
            <a:lvl1pPr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A430D6-E733-E611-E1EF-A795D0B0362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2CDB94-BA57-B58F-95F0-D406FE34BB4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4" y="2286000"/>
            <a:ext cx="664520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5CBE6E3-0E18-8A57-578D-D314948AF14F}"/>
              </a:ext>
            </a:extLst>
          </p:cNvPr>
          <p:cNvCxnSpPr/>
          <p:nvPr userDrawn="1"/>
        </p:nvCxnSpPr>
        <p:spPr bwMode="auto">
          <a:xfrm>
            <a:off x="2285702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7200B05-7E36-4E03-3739-0BA983764616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FF3B59-8BBA-8C99-9D4D-743723E434FC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Slide Number">
            <a:extLst>
              <a:ext uri="{FF2B5EF4-FFF2-40B4-BE49-F238E27FC236}">
                <a16:creationId xmlns:a16="http://schemas.microsoft.com/office/drawing/2014/main" id="{A0B46D22-64E6-4222-F4E2-B807A7A1528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524249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larg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44019"/>
            <a:ext cx="4139264" cy="1279922"/>
          </a:xfrm>
        </p:spPr>
        <p:txBody>
          <a:bodyPr rIns="457200"/>
          <a:lstStyle>
            <a:lvl1pPr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90" y="216027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72583" y="216027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90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72583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5999" y="2499741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99988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5476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2286001"/>
            <a:ext cx="0" cy="221456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25C7A71B-E65D-0A5D-606D-9F95D5AC6BE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941938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, 6 stacked, alternate, small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3E52F-EEA1-D56F-5E7A-C1983151D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1279922"/>
          </a:xfrm>
        </p:spPr>
        <p:txBody>
          <a:bodyPr rIns="0"/>
          <a:lstStyle>
            <a:lvl1pPr>
              <a:lnSpc>
                <a:spcPct val="110000"/>
              </a:lnSpc>
              <a:defRPr sz="13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534223-A15F-A9E6-C7FA-95FFDF117A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5690" y="216027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1675E3B-BB72-1CF2-CC6C-1977AEAF59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72583" y="216027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258F0BD-A5CC-CECC-5230-86FB175FD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690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9573D61-18CF-FC91-A019-041D3206DA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72583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5681CC4-265E-A18C-1C70-60E527BC62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17533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D234ED4-217E-BF9B-FDEE-0BE07F831E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99988" y="2500314"/>
            <a:ext cx="1857133" cy="1857970"/>
          </a:xfrm>
        </p:spPr>
        <p:txBody>
          <a:bodyPr/>
          <a:lstStyle>
            <a:lvl1pPr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5ACE3-ACF8-D072-E98D-B30BD47D081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455E69-0B51-1D31-E569-651079398D3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5476" y="2286000"/>
            <a:ext cx="8715431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4C560F4-CB2D-6B04-588B-57BB4D4E6DC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5702" y="2286001"/>
            <a:ext cx="0" cy="2214563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87B78A1-A315-98D3-1692-18AAAF4C6002}"/>
              </a:ext>
            </a:extLst>
          </p:cNvPr>
          <p:cNvCxnSpPr/>
          <p:nvPr userDrawn="1"/>
        </p:nvCxnSpPr>
        <p:spPr bwMode="auto">
          <a:xfrm>
            <a:off x="6857107" y="21371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764036E-86AB-0893-B72B-200B84A6BCFD}"/>
              </a:ext>
            </a:extLst>
          </p:cNvPr>
          <p:cNvCxnSpPr/>
          <p:nvPr userDrawn="1"/>
        </p:nvCxnSpPr>
        <p:spPr bwMode="auto">
          <a:xfrm>
            <a:off x="4570262" y="212599"/>
            <a:ext cx="0" cy="4286845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lide Number">
            <a:extLst>
              <a:ext uri="{FF2B5EF4-FFF2-40B4-BE49-F238E27FC236}">
                <a16:creationId xmlns:a16="http://schemas.microsoft.com/office/drawing/2014/main" id="{78DA00F4-B5C9-B0CB-71F8-ED123EAA68CC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005410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half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1285876"/>
            <a:ext cx="185832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88F00625-4E10-D884-2256-56B294B4B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99987" y="1285876"/>
            <a:ext cx="1856538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77F84A-1700-568D-FF6C-C74EAF713E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468A48E8-BE84-7972-AB73-8E31C1C1349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85690" y="213719"/>
            <a:ext cx="4142836" cy="471547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481806941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5934" y="4839236"/>
            <a:ext cx="102592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5EDE688-75EF-DA04-F0B3-24F53FFC6B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6000" y="1285876"/>
            <a:ext cx="185832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390102-FDF4-C834-3F45-02B57A70AD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85703" y="0"/>
            <a:ext cx="6858298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3988497884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3/4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75B039-5865-7356-B725-0FF3C8F73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5934" y="4839236"/>
            <a:ext cx="102592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FE37E5-0FED-B2B2-3150-F02A8956CD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0" y="1285876"/>
            <a:ext cx="1858324" cy="3214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8C6A11-84D9-C1BA-F3C9-2E9D1A288B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70703B-65B6-4B78-8B7C-73857A06C3A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99988" y="211933"/>
            <a:ext cx="6430919" cy="4717256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497757371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ble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5934" y="4839236"/>
            <a:ext cx="102592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6679120-DB81-97FD-CD5A-00DC1F5E665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5143500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1383626931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or imagery, ins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C9F466-AC9D-B311-5655-93E326ED59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25934" y="4839236"/>
            <a:ext cx="102592" cy="92333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4239CCE-9A38-90E1-F860-FF40FBDA240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13095" y="213718"/>
            <a:ext cx="8715431" cy="4717851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</p:spTree>
    <p:extLst>
      <p:ext uri="{BB962C8B-B14F-4D97-AF65-F5344CB8AC3E}">
        <p14:creationId xmlns:p14="http://schemas.microsoft.com/office/powerpoint/2010/main" val="2446111089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, profiles, contributo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096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B8510EE-4140-AEDB-B7AB-EF1D4B72D2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16000" y="2295526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26F49A0-96BE-0B44-B1C8-17D765B10B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85709" y="2295526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3F048335-9A0B-2C1F-47A6-67051F20075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16000" y="3571876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4772377-8015-4C99-7ED3-E4475C524D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85709" y="3571876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D83A84-CCD3-C297-7314-225B96D47D6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E889D859-F4A1-3E97-F05E-8D134A25B9F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16000" y="1000125"/>
            <a:ext cx="927376" cy="928688"/>
          </a:xfrm>
          <a:solidFill>
            <a:srgbClr val="E0E0E0"/>
          </a:solidFill>
        </p:spPr>
        <p:txBody>
          <a:bodyPr anchor="ctr"/>
          <a:lstStyle>
            <a:lvl1pPr algn="ctr">
              <a:defRPr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Place imagery he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1D025A0-5106-DFB0-90B1-8B366B78913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285709" y="1000125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33F8C74-1D30-FEA9-4F3C-636531C8614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783309" y="2295526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52D1EA1-405F-7875-BAB9-B258776E14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855923" y="2295526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2E690121-61A1-708E-E5B8-5B65A668E62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783309" y="3571876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3849969-24A3-113A-C58E-4A4B0FB29BA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55923" y="3571876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F94AC7E0-2DC4-5DEB-8E1E-2F27996F98E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783309" y="1000125"/>
            <a:ext cx="927376" cy="928688"/>
          </a:xfrm>
          <a:solidFill>
            <a:srgbClr val="E0E0E0"/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5"/>
                </a:solidFill>
              </a:defRPr>
            </a:lvl1pPr>
          </a:lstStyle>
          <a:p>
            <a:pPr marL="0" marR="0" lvl="0" indent="0" algn="ctr" defTabSz="914378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ace imagery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E3566C7-C728-77B2-2A34-BBB83D482F5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855923" y="1000125"/>
            <a:ext cx="2140465" cy="928688"/>
          </a:xfr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 marL="9601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2pPr>
            <a:lvl3pPr marL="192020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3pPr>
            <a:lvl4pPr marL="288029" indent="-96010"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4870601-E9CA-9D0E-804F-2A7353CE534A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279489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1715095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3D8D357-75A1-F4FD-F531-380CF7DE4340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2499987" y="213719"/>
            <a:ext cx="6428538" cy="4286845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8A8EE3-1224-3A4B-8A9E-611D8DCF629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989FA07-F7B7-BE4B-581F-7BE47BBA6051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824158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000" y="144018"/>
            <a:ext cx="1858324" cy="107215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1393" y="213719"/>
            <a:ext cx="1857133" cy="4286845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54863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5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88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0270476-9FE1-F85E-6F9B-322B184D8FC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514800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 disclaimer,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B717A5-5D28-36C3-250F-93E0C68721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6000" y="144018"/>
            <a:ext cx="1858324" cy="107215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3FF5DC1-E283-8AC5-8620-9364743031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1393" y="213719"/>
            <a:ext cx="1857133" cy="4286845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54863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5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88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6E1A4-1881-81E9-2BBE-BC4DBFE11A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17857" y="4801792"/>
            <a:ext cx="1858324" cy="1428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4E531DA-4051-706E-065B-21A0391415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85690" y="213719"/>
            <a:ext cx="1857133" cy="4286845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  <a:lvl2pPr marL="54863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2pPr>
            <a:lvl3pPr marL="109725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3pPr>
            <a:lvl4pPr marL="164588" indent="-54863"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5pPr>
          </a:lstStyle>
          <a:p>
            <a:r>
              <a:rPr lang="en-US" dirty="0"/>
              <a:t>Copy and paste appropriate legal disclaimer text from one of the three options in the PDF guidance deck, found on pages 22-24. Always use the proper legal disclaimer for your presentation audience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AD686F0-BF95-1E62-61EC-96790733887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169468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D0BFE-82FD-94B0-E6D9-A9096777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216028"/>
            <a:ext cx="1855943" cy="572643"/>
          </a:xfrm>
        </p:spPr>
        <p:txBody>
          <a:bodyPr/>
          <a:lstStyle>
            <a:lvl1pPr>
              <a:lnSpc>
                <a:spcPct val="110000"/>
              </a:lnSpc>
              <a:defRPr sz="10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559113-A66F-B148-0A73-FD8B5C2B023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BAFC9C6E-79FD-9BB8-F74D-EAA013319C6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825933" y="4852065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71627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7060FE5-C047-4041-AB41-F553D2847E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24004" y="2313173"/>
            <a:ext cx="1295993" cy="517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913242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over Slide">
    <p:bg>
      <p:bgPr>
        <a:gradFill flip="none" rotWithShape="1">
          <a:gsLst>
            <a:gs pos="0">
              <a:schemeClr val="accent1"/>
            </a:gs>
            <a:gs pos="100000">
              <a:srgbClr val="000000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Title Text"/>
          <p:cNvSpPr txBox="1">
            <a:spLocks noGrp="1"/>
          </p:cNvSpPr>
          <p:nvPr>
            <p:ph type="title"/>
          </p:nvPr>
        </p:nvSpPr>
        <p:spPr>
          <a:xfrm>
            <a:off x="228601" y="203781"/>
            <a:ext cx="4114802" cy="447934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t>Title Text</a:t>
            </a:r>
          </a:p>
        </p:txBody>
      </p:sp>
      <p:pic>
        <p:nvPicPr>
          <p:cNvPr id="336" name="Picture 5" descr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3811" y="241303"/>
            <a:ext cx="521590" cy="211455"/>
          </a:xfrm>
          <a:prstGeom prst="rect">
            <a:avLst/>
          </a:prstGeom>
          <a:ln w="12700">
            <a:miter lim="400000"/>
          </a:ln>
        </p:spPr>
      </p:pic>
      <p:pic>
        <p:nvPicPr>
          <p:cNvPr id="337" name="Picture 13" descr="Picture 13"/>
          <p:cNvPicPr>
            <a:picLocks noChangeAspect="1"/>
          </p:cNvPicPr>
          <p:nvPr/>
        </p:nvPicPr>
        <p:blipFill>
          <a:blip r:embed="rId3"/>
          <a:srcRect l="15132" t="30197" r="15583" b="32340"/>
          <a:stretch>
            <a:fillRect/>
          </a:stretch>
        </p:blipFill>
        <p:spPr>
          <a:xfrm>
            <a:off x="7410747" y="4604933"/>
            <a:ext cx="1574104" cy="398968"/>
          </a:xfrm>
          <a:prstGeom prst="rect">
            <a:avLst/>
          </a:prstGeom>
          <a:ln w="12700">
            <a:miter lim="400000"/>
          </a:ln>
        </p:spPr>
      </p:pic>
      <p:pic>
        <p:nvPicPr>
          <p:cNvPr id="338" name="BCK_PEG_[01].png" descr="BCK_PEG_[01]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7302" y="1621623"/>
            <a:ext cx="2149405" cy="190025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0465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7D9FBD7-A794-8A41-BF45-0DE9CC1510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3810"/>
            <a:ext cx="9144000" cy="5135880"/>
          </a:xfrm>
          <a:prstGeom prst="rect">
            <a:avLst/>
          </a:prstGeom>
        </p:spPr>
      </p:pic>
      <p:sp>
        <p:nvSpPr>
          <p:cNvPr id="8" name="Title">
            <a:extLst>
              <a:ext uri="{FF2B5EF4-FFF2-40B4-BE49-F238E27FC236}">
                <a16:creationId xmlns:a16="http://schemas.microsoft.com/office/drawing/2014/main" id="{F6EEF3B7-1A42-4949-9E4E-287DD2F39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 b="0" i="0">
                <a:solidFill>
                  <a:srgbClr val="00114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CE443607-A076-2445-8F20-2DCAF811E4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68" y="4787903"/>
            <a:ext cx="4114735" cy="166687"/>
          </a:xfrm>
        </p:spPr>
        <p:txBody>
          <a:bodyPr/>
          <a:lstStyle/>
          <a:p>
            <a:r>
              <a:rPr lang="en-US" dirty="0"/>
              <a:t>© 2022 IBM Corpor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7CC0D2E-1CA6-2C49-914B-E48F29C13D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3817" y="4692553"/>
            <a:ext cx="527111" cy="21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667382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8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4" y="4705254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546943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8" y="459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3814" y="4705254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509663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4" y="4705254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2207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0048D475-47B3-4D6A-8967-CE571DD44B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68" y="4787902"/>
            <a:ext cx="4114735" cy="166687"/>
          </a:xfrm>
        </p:spPr>
        <p:txBody>
          <a:bodyPr/>
          <a:lstStyle>
            <a:lvl1pPr algn="l">
              <a:defRPr sz="600"/>
            </a:lvl1pPr>
          </a:lstStyle>
          <a:p>
            <a:r>
              <a:rPr lang="en-US"/>
              <a:t>IBM Cloud / © 2021 IBM Corporation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E245D785-3444-4F9C-B13D-7B2A4CB46C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12741" y="4862256"/>
            <a:ext cx="102593" cy="92333"/>
          </a:xfrm>
        </p:spPr>
        <p:txBody>
          <a:bodyPr/>
          <a:lstStyle>
            <a:lvl1pPr algn="r">
              <a:defRPr sz="600"/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178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8" Type="http://schemas.openxmlformats.org/officeDocument/2006/relationships/slideLayout" Target="../slideLayouts/slideLayout10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26" Type="http://schemas.openxmlformats.org/officeDocument/2006/relationships/slideLayout" Target="../slideLayouts/slideLayout158.xml"/><Relationship Id="rId39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53.xml"/><Relationship Id="rId34" Type="http://schemas.openxmlformats.org/officeDocument/2006/relationships/slideLayout" Target="../slideLayouts/slideLayout166.xml"/><Relationship Id="rId42" Type="http://schemas.openxmlformats.org/officeDocument/2006/relationships/slideLayout" Target="../slideLayouts/slideLayout174.xml"/><Relationship Id="rId47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9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slideLayout" Target="../slideLayouts/slideLayout156.xml"/><Relationship Id="rId32" Type="http://schemas.openxmlformats.org/officeDocument/2006/relationships/slideLayout" Target="../slideLayouts/slideLayout164.xml"/><Relationship Id="rId37" Type="http://schemas.openxmlformats.org/officeDocument/2006/relationships/slideLayout" Target="../slideLayouts/slideLayout169.xml"/><Relationship Id="rId40" Type="http://schemas.openxmlformats.org/officeDocument/2006/relationships/slideLayout" Target="../slideLayouts/slideLayout172.xml"/><Relationship Id="rId45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slideLayout" Target="../slideLayouts/slideLayout155.xml"/><Relationship Id="rId28" Type="http://schemas.openxmlformats.org/officeDocument/2006/relationships/slideLayout" Target="../slideLayouts/slideLayout160.xml"/><Relationship Id="rId36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31" Type="http://schemas.openxmlformats.org/officeDocument/2006/relationships/slideLayout" Target="../slideLayouts/slideLayout163.xml"/><Relationship Id="rId44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slideLayout" Target="../slideLayouts/slideLayout154.xml"/><Relationship Id="rId27" Type="http://schemas.openxmlformats.org/officeDocument/2006/relationships/slideLayout" Target="../slideLayouts/slideLayout159.xml"/><Relationship Id="rId30" Type="http://schemas.openxmlformats.org/officeDocument/2006/relationships/slideLayout" Target="../slideLayouts/slideLayout162.xml"/><Relationship Id="rId35" Type="http://schemas.openxmlformats.org/officeDocument/2006/relationships/slideLayout" Target="../slideLayouts/slideLayout167.xml"/><Relationship Id="rId43" Type="http://schemas.openxmlformats.org/officeDocument/2006/relationships/slideLayout" Target="../slideLayouts/slideLayout175.xml"/><Relationship Id="rId48" Type="http://schemas.openxmlformats.org/officeDocument/2006/relationships/theme" Target="../theme/theme4.xml"/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slideLayout" Target="../slideLayouts/slideLayout157.xml"/><Relationship Id="rId33" Type="http://schemas.openxmlformats.org/officeDocument/2006/relationships/slideLayout" Target="../slideLayouts/slideLayout165.xml"/><Relationship Id="rId38" Type="http://schemas.openxmlformats.org/officeDocument/2006/relationships/slideLayout" Target="../slideLayouts/slideLayout170.xml"/><Relationship Id="rId46" Type="http://schemas.openxmlformats.org/officeDocument/2006/relationships/slideLayout" Target="../slideLayouts/slideLayout178.xml"/><Relationship Id="rId20" Type="http://schemas.openxmlformats.org/officeDocument/2006/relationships/slideLayout" Target="../slideLayouts/slideLayout152.xml"/><Relationship Id="rId41" Type="http://schemas.openxmlformats.org/officeDocument/2006/relationships/slideLayout" Target="../slideLayouts/slideLayout17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26" Type="http://schemas.openxmlformats.org/officeDocument/2006/relationships/slideLayout" Target="../slideLayouts/slideLayout205.xml"/><Relationship Id="rId39" Type="http://schemas.openxmlformats.org/officeDocument/2006/relationships/slideLayout" Target="../slideLayouts/slideLayout218.xml"/><Relationship Id="rId21" Type="http://schemas.openxmlformats.org/officeDocument/2006/relationships/slideLayout" Target="../slideLayouts/slideLayout200.xml"/><Relationship Id="rId34" Type="http://schemas.openxmlformats.org/officeDocument/2006/relationships/slideLayout" Target="../slideLayouts/slideLayout213.xml"/><Relationship Id="rId42" Type="http://schemas.openxmlformats.org/officeDocument/2006/relationships/slideLayout" Target="../slideLayouts/slideLayout221.xml"/><Relationship Id="rId47" Type="http://schemas.openxmlformats.org/officeDocument/2006/relationships/slideLayout" Target="../slideLayouts/slideLayout226.xml"/><Relationship Id="rId50" Type="http://schemas.openxmlformats.org/officeDocument/2006/relationships/slideLayout" Target="../slideLayouts/slideLayout229.xml"/><Relationship Id="rId55" Type="http://schemas.openxmlformats.org/officeDocument/2006/relationships/theme" Target="../theme/theme5.xml"/><Relationship Id="rId7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9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190.xml"/><Relationship Id="rId24" Type="http://schemas.openxmlformats.org/officeDocument/2006/relationships/slideLayout" Target="../slideLayouts/slideLayout203.xml"/><Relationship Id="rId32" Type="http://schemas.openxmlformats.org/officeDocument/2006/relationships/slideLayout" Target="../slideLayouts/slideLayout211.xml"/><Relationship Id="rId37" Type="http://schemas.openxmlformats.org/officeDocument/2006/relationships/slideLayout" Target="../slideLayouts/slideLayout216.xml"/><Relationship Id="rId40" Type="http://schemas.openxmlformats.org/officeDocument/2006/relationships/slideLayout" Target="../slideLayouts/slideLayout219.xml"/><Relationship Id="rId45" Type="http://schemas.openxmlformats.org/officeDocument/2006/relationships/slideLayout" Target="../slideLayouts/slideLayout224.xml"/><Relationship Id="rId53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89.xml"/><Relationship Id="rId19" Type="http://schemas.openxmlformats.org/officeDocument/2006/relationships/slideLayout" Target="../slideLayouts/slideLayout198.xml"/><Relationship Id="rId31" Type="http://schemas.openxmlformats.org/officeDocument/2006/relationships/slideLayout" Target="../slideLayouts/slideLayout210.xml"/><Relationship Id="rId44" Type="http://schemas.openxmlformats.org/officeDocument/2006/relationships/slideLayout" Target="../slideLayouts/slideLayout223.xml"/><Relationship Id="rId52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Relationship Id="rId22" Type="http://schemas.openxmlformats.org/officeDocument/2006/relationships/slideLayout" Target="../slideLayouts/slideLayout201.xml"/><Relationship Id="rId27" Type="http://schemas.openxmlformats.org/officeDocument/2006/relationships/slideLayout" Target="../slideLayouts/slideLayout206.xml"/><Relationship Id="rId30" Type="http://schemas.openxmlformats.org/officeDocument/2006/relationships/slideLayout" Target="../slideLayouts/slideLayout209.xml"/><Relationship Id="rId35" Type="http://schemas.openxmlformats.org/officeDocument/2006/relationships/slideLayout" Target="../slideLayouts/slideLayout214.xml"/><Relationship Id="rId43" Type="http://schemas.openxmlformats.org/officeDocument/2006/relationships/slideLayout" Target="../slideLayouts/slideLayout222.xml"/><Relationship Id="rId48" Type="http://schemas.openxmlformats.org/officeDocument/2006/relationships/slideLayout" Target="../slideLayouts/slideLayout227.xml"/><Relationship Id="rId8" Type="http://schemas.openxmlformats.org/officeDocument/2006/relationships/slideLayout" Target="../slideLayouts/slideLayout187.xml"/><Relationship Id="rId51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5" Type="http://schemas.openxmlformats.org/officeDocument/2006/relationships/slideLayout" Target="../slideLayouts/slideLayout204.xml"/><Relationship Id="rId33" Type="http://schemas.openxmlformats.org/officeDocument/2006/relationships/slideLayout" Target="../slideLayouts/slideLayout212.xml"/><Relationship Id="rId38" Type="http://schemas.openxmlformats.org/officeDocument/2006/relationships/slideLayout" Target="../slideLayouts/slideLayout217.xml"/><Relationship Id="rId46" Type="http://schemas.openxmlformats.org/officeDocument/2006/relationships/slideLayout" Target="../slideLayouts/slideLayout225.xml"/><Relationship Id="rId20" Type="http://schemas.openxmlformats.org/officeDocument/2006/relationships/slideLayout" Target="../slideLayouts/slideLayout199.xml"/><Relationship Id="rId41" Type="http://schemas.openxmlformats.org/officeDocument/2006/relationships/slideLayout" Target="../slideLayouts/slideLayout220.xml"/><Relationship Id="rId54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5" Type="http://schemas.openxmlformats.org/officeDocument/2006/relationships/slideLayout" Target="../slideLayouts/slideLayout194.xml"/><Relationship Id="rId23" Type="http://schemas.openxmlformats.org/officeDocument/2006/relationships/slideLayout" Target="../slideLayouts/slideLayout202.xml"/><Relationship Id="rId28" Type="http://schemas.openxmlformats.org/officeDocument/2006/relationships/slideLayout" Target="../slideLayouts/slideLayout207.xml"/><Relationship Id="rId36" Type="http://schemas.openxmlformats.org/officeDocument/2006/relationships/slideLayout" Target="../slideLayouts/slideLayout215.xml"/><Relationship Id="rId49" Type="http://schemas.openxmlformats.org/officeDocument/2006/relationships/slideLayout" Target="../slideLayouts/slideLayout22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6.xml"/><Relationship Id="rId18" Type="http://schemas.openxmlformats.org/officeDocument/2006/relationships/slideLayout" Target="../slideLayouts/slideLayout251.xml"/><Relationship Id="rId26" Type="http://schemas.openxmlformats.org/officeDocument/2006/relationships/slideLayout" Target="../slideLayouts/slideLayout259.xml"/><Relationship Id="rId39" Type="http://schemas.openxmlformats.org/officeDocument/2006/relationships/slideLayout" Target="../slideLayouts/slideLayout272.xml"/><Relationship Id="rId21" Type="http://schemas.openxmlformats.org/officeDocument/2006/relationships/slideLayout" Target="../slideLayouts/slideLayout254.xml"/><Relationship Id="rId34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5.xml"/><Relationship Id="rId16" Type="http://schemas.openxmlformats.org/officeDocument/2006/relationships/slideLayout" Target="../slideLayouts/slideLayout249.xml"/><Relationship Id="rId20" Type="http://schemas.openxmlformats.org/officeDocument/2006/relationships/slideLayout" Target="../slideLayouts/slideLayout253.xml"/><Relationship Id="rId29" Type="http://schemas.openxmlformats.org/officeDocument/2006/relationships/slideLayout" Target="../slideLayouts/slideLayout262.xml"/><Relationship Id="rId41" Type="http://schemas.openxmlformats.org/officeDocument/2006/relationships/theme" Target="../theme/theme6.xml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24" Type="http://schemas.openxmlformats.org/officeDocument/2006/relationships/slideLayout" Target="../slideLayouts/slideLayout257.xml"/><Relationship Id="rId32" Type="http://schemas.openxmlformats.org/officeDocument/2006/relationships/slideLayout" Target="../slideLayouts/slideLayout265.xml"/><Relationship Id="rId37" Type="http://schemas.openxmlformats.org/officeDocument/2006/relationships/slideLayout" Target="../slideLayouts/slideLayout270.xml"/><Relationship Id="rId40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38.xml"/><Relationship Id="rId15" Type="http://schemas.openxmlformats.org/officeDocument/2006/relationships/slideLayout" Target="../slideLayouts/slideLayout248.xml"/><Relationship Id="rId23" Type="http://schemas.openxmlformats.org/officeDocument/2006/relationships/slideLayout" Target="../slideLayouts/slideLayout256.xml"/><Relationship Id="rId28" Type="http://schemas.openxmlformats.org/officeDocument/2006/relationships/slideLayout" Target="../slideLayouts/slideLayout261.xml"/><Relationship Id="rId36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43.xml"/><Relationship Id="rId19" Type="http://schemas.openxmlformats.org/officeDocument/2006/relationships/slideLayout" Target="../slideLayouts/slideLayout252.xml"/><Relationship Id="rId31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slideLayout" Target="../slideLayouts/slideLayout247.xml"/><Relationship Id="rId22" Type="http://schemas.openxmlformats.org/officeDocument/2006/relationships/slideLayout" Target="../slideLayouts/slideLayout255.xml"/><Relationship Id="rId27" Type="http://schemas.openxmlformats.org/officeDocument/2006/relationships/slideLayout" Target="../slideLayouts/slideLayout260.xml"/><Relationship Id="rId30" Type="http://schemas.openxmlformats.org/officeDocument/2006/relationships/slideLayout" Target="../slideLayouts/slideLayout263.xml"/><Relationship Id="rId35" Type="http://schemas.openxmlformats.org/officeDocument/2006/relationships/slideLayout" Target="../slideLayouts/slideLayout268.xml"/><Relationship Id="rId8" Type="http://schemas.openxmlformats.org/officeDocument/2006/relationships/slideLayout" Target="../slideLayouts/slideLayout241.xml"/><Relationship Id="rId3" Type="http://schemas.openxmlformats.org/officeDocument/2006/relationships/slideLayout" Target="../slideLayouts/slideLayout236.xml"/><Relationship Id="rId12" Type="http://schemas.openxmlformats.org/officeDocument/2006/relationships/slideLayout" Target="../slideLayouts/slideLayout245.xml"/><Relationship Id="rId17" Type="http://schemas.openxmlformats.org/officeDocument/2006/relationships/slideLayout" Target="../slideLayouts/slideLayout250.xml"/><Relationship Id="rId25" Type="http://schemas.openxmlformats.org/officeDocument/2006/relationships/slideLayout" Target="../slideLayouts/slideLayout258.xml"/><Relationship Id="rId33" Type="http://schemas.openxmlformats.org/officeDocument/2006/relationships/slideLayout" Target="../slideLayouts/slideLayout266.xml"/><Relationship Id="rId38" Type="http://schemas.openxmlformats.org/officeDocument/2006/relationships/slideLayout" Target="../slideLayouts/slideLayout27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6.xml"/><Relationship Id="rId18" Type="http://schemas.openxmlformats.org/officeDocument/2006/relationships/slideLayout" Target="../slideLayouts/slideLayout291.xml"/><Relationship Id="rId26" Type="http://schemas.openxmlformats.org/officeDocument/2006/relationships/slideLayout" Target="../slideLayouts/slideLayout299.xml"/><Relationship Id="rId39" Type="http://schemas.openxmlformats.org/officeDocument/2006/relationships/slideLayout" Target="../slideLayouts/slideLayout312.xml"/><Relationship Id="rId21" Type="http://schemas.openxmlformats.org/officeDocument/2006/relationships/slideLayout" Target="../slideLayouts/slideLayout294.xml"/><Relationship Id="rId34" Type="http://schemas.openxmlformats.org/officeDocument/2006/relationships/slideLayout" Target="../slideLayouts/slideLayout307.xml"/><Relationship Id="rId42" Type="http://schemas.openxmlformats.org/officeDocument/2006/relationships/slideLayout" Target="../slideLayouts/slideLayout315.xml"/><Relationship Id="rId47" Type="http://schemas.openxmlformats.org/officeDocument/2006/relationships/theme" Target="../theme/theme7.xml"/><Relationship Id="rId7" Type="http://schemas.openxmlformats.org/officeDocument/2006/relationships/slideLayout" Target="../slideLayouts/slideLayout280.xml"/><Relationship Id="rId2" Type="http://schemas.openxmlformats.org/officeDocument/2006/relationships/slideLayout" Target="../slideLayouts/slideLayout275.xml"/><Relationship Id="rId16" Type="http://schemas.openxmlformats.org/officeDocument/2006/relationships/slideLayout" Target="../slideLayouts/slideLayout289.xml"/><Relationship Id="rId29" Type="http://schemas.openxmlformats.org/officeDocument/2006/relationships/slideLayout" Target="../slideLayouts/slideLayout302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24" Type="http://schemas.openxmlformats.org/officeDocument/2006/relationships/slideLayout" Target="../slideLayouts/slideLayout297.xml"/><Relationship Id="rId32" Type="http://schemas.openxmlformats.org/officeDocument/2006/relationships/slideLayout" Target="../slideLayouts/slideLayout305.xml"/><Relationship Id="rId37" Type="http://schemas.openxmlformats.org/officeDocument/2006/relationships/slideLayout" Target="../slideLayouts/slideLayout310.xml"/><Relationship Id="rId40" Type="http://schemas.openxmlformats.org/officeDocument/2006/relationships/slideLayout" Target="../slideLayouts/slideLayout313.xml"/><Relationship Id="rId45" Type="http://schemas.openxmlformats.org/officeDocument/2006/relationships/slideLayout" Target="../slideLayouts/slideLayout318.xml"/><Relationship Id="rId5" Type="http://schemas.openxmlformats.org/officeDocument/2006/relationships/slideLayout" Target="../slideLayouts/slideLayout278.xml"/><Relationship Id="rId15" Type="http://schemas.openxmlformats.org/officeDocument/2006/relationships/slideLayout" Target="../slideLayouts/slideLayout288.xml"/><Relationship Id="rId23" Type="http://schemas.openxmlformats.org/officeDocument/2006/relationships/slideLayout" Target="../slideLayouts/slideLayout296.xml"/><Relationship Id="rId28" Type="http://schemas.openxmlformats.org/officeDocument/2006/relationships/slideLayout" Target="../slideLayouts/slideLayout301.xml"/><Relationship Id="rId36" Type="http://schemas.openxmlformats.org/officeDocument/2006/relationships/slideLayout" Target="../slideLayouts/slideLayout309.xml"/><Relationship Id="rId10" Type="http://schemas.openxmlformats.org/officeDocument/2006/relationships/slideLayout" Target="../slideLayouts/slideLayout283.xml"/><Relationship Id="rId19" Type="http://schemas.openxmlformats.org/officeDocument/2006/relationships/slideLayout" Target="../slideLayouts/slideLayout292.xml"/><Relationship Id="rId31" Type="http://schemas.openxmlformats.org/officeDocument/2006/relationships/slideLayout" Target="../slideLayouts/slideLayout304.xml"/><Relationship Id="rId44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slideLayout" Target="../slideLayouts/slideLayout287.xml"/><Relationship Id="rId22" Type="http://schemas.openxmlformats.org/officeDocument/2006/relationships/slideLayout" Target="../slideLayouts/slideLayout295.xml"/><Relationship Id="rId27" Type="http://schemas.openxmlformats.org/officeDocument/2006/relationships/slideLayout" Target="../slideLayouts/slideLayout300.xml"/><Relationship Id="rId30" Type="http://schemas.openxmlformats.org/officeDocument/2006/relationships/slideLayout" Target="../slideLayouts/slideLayout303.xml"/><Relationship Id="rId35" Type="http://schemas.openxmlformats.org/officeDocument/2006/relationships/slideLayout" Target="../slideLayouts/slideLayout308.xml"/><Relationship Id="rId43" Type="http://schemas.openxmlformats.org/officeDocument/2006/relationships/slideLayout" Target="../slideLayouts/slideLayout316.xml"/><Relationship Id="rId8" Type="http://schemas.openxmlformats.org/officeDocument/2006/relationships/slideLayout" Target="../slideLayouts/slideLayout281.xml"/><Relationship Id="rId3" Type="http://schemas.openxmlformats.org/officeDocument/2006/relationships/slideLayout" Target="../slideLayouts/slideLayout276.xml"/><Relationship Id="rId12" Type="http://schemas.openxmlformats.org/officeDocument/2006/relationships/slideLayout" Target="../slideLayouts/slideLayout285.xml"/><Relationship Id="rId17" Type="http://schemas.openxmlformats.org/officeDocument/2006/relationships/slideLayout" Target="../slideLayouts/slideLayout290.xml"/><Relationship Id="rId25" Type="http://schemas.openxmlformats.org/officeDocument/2006/relationships/slideLayout" Target="../slideLayouts/slideLayout298.xml"/><Relationship Id="rId33" Type="http://schemas.openxmlformats.org/officeDocument/2006/relationships/slideLayout" Target="../slideLayouts/slideLayout306.xml"/><Relationship Id="rId38" Type="http://schemas.openxmlformats.org/officeDocument/2006/relationships/slideLayout" Target="../slideLayouts/slideLayout311.xml"/><Relationship Id="rId46" Type="http://schemas.openxmlformats.org/officeDocument/2006/relationships/slideLayout" Target="../slideLayouts/slideLayout319.xml"/><Relationship Id="rId20" Type="http://schemas.openxmlformats.org/officeDocument/2006/relationships/slideLayout" Target="../slideLayouts/slideLayout293.xml"/><Relationship Id="rId41" Type="http://schemas.openxmlformats.org/officeDocument/2006/relationships/slideLayout" Target="../slideLayouts/slideLayout3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loud/ Secure Software Supply Chains / Nov 11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0" r:id="rId43"/>
    <p:sldLayoutId id="2147483948" r:id="rId44"/>
    <p:sldLayoutId id="2147483949" r:id="rId45"/>
    <p:sldLayoutId id="2147483950" r:id="rId46"/>
    <p:sldLayoutId id="2147483951" r:id="rId47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825933" y="4852036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15475" y="216694"/>
            <a:ext cx="8470194" cy="9941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15475" y="1247775"/>
            <a:ext cx="8470194" cy="32510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095" y="4801589"/>
            <a:ext cx="1858324" cy="14287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0810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  <p:sldLayoutId id="2147483985" r:id="rId14"/>
    <p:sldLayoutId id="2147483986" r:id="rId15"/>
    <p:sldLayoutId id="2147483987" r:id="rId16"/>
    <p:sldLayoutId id="2147483988" r:id="rId17"/>
    <p:sldLayoutId id="2147483989" r:id="rId18"/>
    <p:sldLayoutId id="2147483990" r:id="rId19"/>
    <p:sldLayoutId id="2147483991" r:id="rId20"/>
    <p:sldLayoutId id="2147483992" r:id="rId21"/>
    <p:sldLayoutId id="2147483993" r:id="rId22"/>
    <p:sldLayoutId id="2147483994" r:id="rId23"/>
    <p:sldLayoutId id="2147483995" r:id="rId24"/>
    <p:sldLayoutId id="2147483996" r:id="rId25"/>
    <p:sldLayoutId id="2147483997" r:id="rId26"/>
    <p:sldLayoutId id="2147483998" r:id="rId27"/>
    <p:sldLayoutId id="2147483999" r:id="rId28"/>
    <p:sldLayoutId id="2147484000" r:id="rId29"/>
    <p:sldLayoutId id="2147484001" r:id="rId30"/>
    <p:sldLayoutId id="2147484002" r:id="rId31"/>
    <p:sldLayoutId id="2147484003" r:id="rId32"/>
    <p:sldLayoutId id="2147484004" r:id="rId33"/>
    <p:sldLayoutId id="2147484005" r:id="rId34"/>
    <p:sldLayoutId id="2147484006" r:id="rId35"/>
    <p:sldLayoutId id="2147484007" r:id="rId36"/>
    <p:sldLayoutId id="2147484008" r:id="rId37"/>
    <p:sldLayoutId id="2147484009" r:id="rId38"/>
    <p:sldLayoutId id="2147484010" r:id="rId39"/>
    <p:sldLayoutId id="2147484011" r:id="rId40"/>
    <p:sldLayoutId id="2147484012" r:id="rId41"/>
    <p:sldLayoutId id="2147484013" r:id="rId42"/>
    <p:sldLayoutId id="2147484014" r:id="rId43"/>
    <p:sldLayoutId id="2147484015" r:id="rId44"/>
    <p:sldLayoutId id="2147484016" r:id="rId45"/>
    <p:sldLayoutId id="2147484017" r:id="rId46"/>
    <p:sldLayoutId id="2147484018" r:id="rId47"/>
    <p:sldLayoutId id="2147484019" r:id="rId48"/>
    <p:sldLayoutId id="2147484020" r:id="rId49"/>
    <p:sldLayoutId id="2147484021" r:id="rId50"/>
    <p:sldLayoutId id="2147484022" r:id="rId51"/>
    <p:sldLayoutId id="2147484023" r:id="rId52"/>
    <p:sldLayoutId id="2147484024" r:id="rId53"/>
  </p:sldLayoutIdLst>
  <p:transition spd="med"/>
  <p:hf hdr="0" dt="0"/>
  <p:txStyles>
    <p:titleStyle>
      <a:lvl1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35959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27192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40788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543841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914378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23441" marR="0" indent="-123441" algn="l" defTabSz="914378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35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246882" marR="0" indent="-123441" algn="l" defTabSz="914378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35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370323" marR="0" indent="-123441" algn="l" defTabSz="914378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35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428615" marR="0" indent="-171446" algn="l" defTabSz="914378" rtl="0" eaLnBrk="1" latinLnBrk="0" hangingPunct="1">
        <a:lnSpc>
          <a:spcPct val="110000"/>
        </a:lnSpc>
        <a:spcBef>
          <a:spcPts val="1088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691131" marR="0" indent="-145874" algn="l" defTabSz="914378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827091" marR="0" indent="-145874" algn="l" defTabSz="914378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963051" marR="0" indent="-145874" algn="l" defTabSz="914378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099010" marR="0" indent="-145874" algn="l" defTabSz="914378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28619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257237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385856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514475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643093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771712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900331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028948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787901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3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IBM Cloud / Date / © 2020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787901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99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1905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  <p:sldLayoutId id="2147484037" r:id="rId11"/>
    <p:sldLayoutId id="2147484038" r:id="rId12"/>
    <p:sldLayoutId id="2147484039" r:id="rId13"/>
    <p:sldLayoutId id="2147484040" r:id="rId14"/>
    <p:sldLayoutId id="2147484041" r:id="rId15"/>
    <p:sldLayoutId id="2147484042" r:id="rId16"/>
    <p:sldLayoutId id="2147484043" r:id="rId17"/>
    <p:sldLayoutId id="2147484044" r:id="rId18"/>
    <p:sldLayoutId id="2147484045" r:id="rId19"/>
    <p:sldLayoutId id="2147484046" r:id="rId20"/>
    <p:sldLayoutId id="2147484047" r:id="rId21"/>
    <p:sldLayoutId id="2147484048" r:id="rId22"/>
    <p:sldLayoutId id="2147484049" r:id="rId23"/>
    <p:sldLayoutId id="2147484050" r:id="rId24"/>
    <p:sldLayoutId id="2147484051" r:id="rId25"/>
    <p:sldLayoutId id="2147484052" r:id="rId26"/>
    <p:sldLayoutId id="2147484053" r:id="rId27"/>
    <p:sldLayoutId id="2147484054" r:id="rId28"/>
    <p:sldLayoutId id="2147484055" r:id="rId29"/>
    <p:sldLayoutId id="2147484056" r:id="rId30"/>
    <p:sldLayoutId id="2147484057" r:id="rId31"/>
    <p:sldLayoutId id="2147484058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398" b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5pPr>
      <a:lvl6pPr marL="36220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6pPr>
      <a:lvl7pPr marL="72441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7pPr>
      <a:lvl8pPr marL="108661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8pPr>
      <a:lvl9pPr marL="14488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18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399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1pPr>
      <a:lvl2pPr marL="171281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399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2pPr>
      <a:lvl3pPr marL="342562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399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3pPr>
      <a:lvl4pPr marL="628029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399" baseline="0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4pPr>
      <a:lvl5pPr marL="802482" indent="-173562" algn="l" rtl="0" eaLnBrk="1" fontAlgn="base" hangingPunct="1">
        <a:lnSpc>
          <a:spcPct val="100000"/>
        </a:lnSpc>
        <a:spcBef>
          <a:spcPts val="1099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399">
          <a:solidFill>
            <a:schemeClr val="tx1"/>
          </a:solidFill>
          <a:latin typeface="IBM Plex Sans" panose="020B0503050203000203" pitchFamily="34" charset="0"/>
          <a:ea typeface="IBM Plex Sans" panose="020B0503050203000203" pitchFamily="34" charset="0"/>
          <a:cs typeface="IBM Plex Sans" panose="020B0503050203000203" pitchFamily="34" charset="0"/>
        </a:defRPr>
      </a:lvl5pPr>
      <a:lvl6pPr marL="1582137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6pPr>
      <a:lvl7pPr marL="1944345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7pPr>
      <a:lvl8pPr marL="2306551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8pPr>
      <a:lvl9pPr marL="2668759" indent="-12954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8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1pPr>
      <a:lvl2pPr marL="362205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2pPr>
      <a:lvl3pPr marL="724414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3pPr>
      <a:lvl4pPr marL="1086619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4pPr>
      <a:lvl5pPr marL="1448826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5pPr>
      <a:lvl6pPr marL="1811033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6pPr>
      <a:lvl7pPr marL="2173239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7pPr>
      <a:lvl8pPr marL="2535445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8pPr>
      <a:lvl9pPr marL="2897651" algn="l" defTabSz="724414" rtl="0" eaLnBrk="1" latinLnBrk="0" hangingPunct="1">
        <a:defRPr sz="14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88">
          <p15:clr>
            <a:srgbClr val="F26B43"/>
          </p15:clr>
        </p15:guide>
        <p15:guide id="3" pos="11232">
          <p15:clr>
            <a:srgbClr val="F26B43"/>
          </p15:clr>
        </p15:guide>
        <p15:guide id="4" orient="horz" pos="5669">
          <p15:clr>
            <a:srgbClr val="F26B43"/>
          </p15:clr>
        </p15:guide>
        <p15:guide id="5" orient="horz" pos="6182">
          <p15:clr>
            <a:srgbClr val="F26B43"/>
          </p15:clr>
        </p15:guide>
        <p15:guide id="6" pos="5760">
          <p15:clr>
            <a:srgbClr val="F26B43"/>
          </p15:clr>
        </p15:guide>
        <p15:guide id="7" pos="5472">
          <p15:clr>
            <a:srgbClr val="F26B43"/>
          </p15:clr>
        </p15:guide>
        <p15:guide id="8" pos="2880">
          <p15:clr>
            <a:srgbClr val="F26B43"/>
          </p15:clr>
        </p15:guide>
        <p15:guide id="9" pos="6048">
          <p15:clr>
            <a:srgbClr val="F26B43"/>
          </p15:clr>
        </p15:guide>
        <p15:guide id="10" pos="2592">
          <p15:clr>
            <a:srgbClr val="F26B43"/>
          </p15:clr>
        </p15:guide>
        <p15:guide id="11" pos="3168">
          <p15:clr>
            <a:srgbClr val="F26B43"/>
          </p15:clr>
        </p15:guide>
        <p15:guide id="12" pos="8640">
          <p15:clr>
            <a:srgbClr val="F26B43"/>
          </p15:clr>
        </p15:guide>
        <p15:guide id="13" pos="8352">
          <p15:clr>
            <a:srgbClr val="F26B43"/>
          </p15:clr>
        </p15:guide>
        <p15:guide id="14" pos="8928">
          <p15:clr>
            <a:srgbClr val="F26B43"/>
          </p15:clr>
        </p15:guide>
        <p15:guide id="15" orient="horz" pos="825">
          <p15:clr>
            <a:srgbClr val="F26B43"/>
          </p15:clr>
        </p15:guide>
        <p15:guide id="17" orient="horz" pos="1626">
          <p15:clr>
            <a:srgbClr val="F26B43"/>
          </p15:clr>
        </p15:guide>
        <p15:guide id="18" orient="horz" pos="3243">
          <p15:clr>
            <a:srgbClr val="F26B43"/>
          </p15:clr>
        </p15:guide>
        <p15:guide id="19" orient="horz" pos="2434">
          <p15:clr>
            <a:srgbClr val="F26B43"/>
          </p15:clr>
        </p15:guide>
        <p15:guide id="20" orient="horz" pos="4048">
          <p15:clr>
            <a:srgbClr val="F26B43"/>
          </p15:clr>
        </p15:guide>
        <p15:guide id="21" orient="horz" pos="485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826948" y="4852131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15999" y="216028"/>
            <a:ext cx="8470194" cy="9941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15475" y="1247775"/>
            <a:ext cx="8470194" cy="32510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  <a:endParaRPr lang="en-CA" dirty="0"/>
          </a:p>
          <a:p>
            <a:pPr lvl="2"/>
            <a:r>
              <a:rPr lang="en-CA" dirty="0"/>
              <a:t>Body Level Three</a:t>
            </a:r>
          </a:p>
          <a:p>
            <a:pPr lvl="3"/>
            <a:r>
              <a:rPr lang="en-CA"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094" y="4801589"/>
            <a:ext cx="1858324" cy="14287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1727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7" r:id="rId6"/>
    <p:sldLayoutId id="2147484068" r:id="rId7"/>
    <p:sldLayoutId id="2147484069" r:id="rId8"/>
    <p:sldLayoutId id="2147484070" r:id="rId9"/>
    <p:sldLayoutId id="2147484071" r:id="rId10"/>
    <p:sldLayoutId id="2147484072" r:id="rId11"/>
    <p:sldLayoutId id="2147484073" r:id="rId12"/>
    <p:sldLayoutId id="2147484074" r:id="rId13"/>
    <p:sldLayoutId id="2147484075" r:id="rId14"/>
    <p:sldLayoutId id="2147484076" r:id="rId15"/>
    <p:sldLayoutId id="2147484077" r:id="rId16"/>
    <p:sldLayoutId id="2147484078" r:id="rId17"/>
    <p:sldLayoutId id="2147484079" r:id="rId18"/>
    <p:sldLayoutId id="2147484080" r:id="rId19"/>
    <p:sldLayoutId id="2147484081" r:id="rId20"/>
    <p:sldLayoutId id="2147484082" r:id="rId21"/>
    <p:sldLayoutId id="2147484083" r:id="rId22"/>
    <p:sldLayoutId id="2147484084" r:id="rId23"/>
    <p:sldLayoutId id="2147484085" r:id="rId24"/>
    <p:sldLayoutId id="2147484086" r:id="rId25"/>
    <p:sldLayoutId id="2147484087" r:id="rId26"/>
    <p:sldLayoutId id="2147484088" r:id="rId27"/>
    <p:sldLayoutId id="2147484089" r:id="rId28"/>
    <p:sldLayoutId id="2147484090" r:id="rId29"/>
    <p:sldLayoutId id="2147484091" r:id="rId30"/>
    <p:sldLayoutId id="2147484092" r:id="rId31"/>
    <p:sldLayoutId id="2147484093" r:id="rId32"/>
    <p:sldLayoutId id="2147484094" r:id="rId33"/>
    <p:sldLayoutId id="2147484095" r:id="rId34"/>
    <p:sldLayoutId id="2147484096" r:id="rId35"/>
    <p:sldLayoutId id="2147484097" r:id="rId36"/>
    <p:sldLayoutId id="2147484098" r:id="rId37"/>
    <p:sldLayoutId id="2147484099" r:id="rId38"/>
    <p:sldLayoutId id="2147484100" r:id="rId39"/>
    <p:sldLayoutId id="2147484101" r:id="rId40"/>
    <p:sldLayoutId id="2147484102" r:id="rId41"/>
    <p:sldLayoutId id="2147484103" r:id="rId42"/>
    <p:sldLayoutId id="2147484104" r:id="rId43"/>
    <p:sldLayoutId id="2147484105" r:id="rId44"/>
    <p:sldLayoutId id="2147484106" r:id="rId45"/>
    <p:sldLayoutId id="2147484107" r:id="rId46"/>
    <p:sldLayoutId id="2147484108" r:id="rId47"/>
  </p:sldLayoutIdLst>
  <p:transition spd="med"/>
  <p:hf sldNum="0" hdr="0" ftr="0" dt="0"/>
  <p:txStyles>
    <p:titleStyle>
      <a:lvl1pPr marL="0" marR="0" indent="0" algn="l" defTabSz="91421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99" b="0" i="0" u="none" strike="noStrike" cap="none" spc="0" baseline="0">
          <a:solidFill>
            <a:schemeClr val="tx2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0" marR="0" indent="0" algn="l" defTabSz="91421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91421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91421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91421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35936" algn="l" defTabSz="91421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271873" algn="l" defTabSz="91421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407808" algn="l" defTabSz="91421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543745" algn="l" defTabSz="914217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99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91421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Tx/>
        <a:buFont typeface="Arial" panose="020B0604020202020204" pitchFamily="34" charset="0"/>
        <a:buNone/>
        <a:tabLst/>
        <a:defRPr sz="135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122825" marR="0" indent="-122825" algn="l" defTabSz="91421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35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2pPr>
      <a:lvl3pPr marL="247001" marR="0" indent="-122825" algn="l" defTabSz="91421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35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3pPr>
      <a:lvl4pPr marL="369826" marR="0" indent="-122825" algn="l" defTabSz="914217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35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4pPr>
      <a:lvl5pPr marL="257123" marR="0" indent="0" algn="l" defTabSz="914217" rtl="0" eaLnBrk="1" latinLnBrk="0" hangingPunct="1">
        <a:lnSpc>
          <a:spcPct val="110000"/>
        </a:lnSpc>
        <a:spcBef>
          <a:spcPts val="1088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691010" marR="0" indent="-145850" algn="l" defTabSz="914217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826946" marR="0" indent="-145850" algn="l" defTabSz="914217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962882" marR="0" indent="-145850" algn="l" defTabSz="914217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098818" marR="0" indent="-145850" algn="l" defTabSz="914217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6858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28596" algn="r" defTabSz="6858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257192" algn="r" defTabSz="6858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385788" algn="r" defTabSz="6858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514384" algn="r" defTabSz="6858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642980" algn="r" defTabSz="6858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771576" algn="r" defTabSz="6858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900173" algn="r" defTabSz="6858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028768" algn="r" defTabSz="68584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825933" y="4852036"/>
            <a:ext cx="102593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15475" y="216694"/>
            <a:ext cx="8470194" cy="9941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15475" y="1247775"/>
            <a:ext cx="8470194" cy="32510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095" y="4801589"/>
            <a:ext cx="1858324" cy="14287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Footer text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1802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18" r:id="rId9"/>
    <p:sldLayoutId id="2147484119" r:id="rId10"/>
    <p:sldLayoutId id="2147484120" r:id="rId11"/>
    <p:sldLayoutId id="2147484121" r:id="rId12"/>
    <p:sldLayoutId id="2147484122" r:id="rId13"/>
    <p:sldLayoutId id="2147484123" r:id="rId14"/>
    <p:sldLayoutId id="2147484124" r:id="rId15"/>
    <p:sldLayoutId id="2147484125" r:id="rId16"/>
    <p:sldLayoutId id="2147484126" r:id="rId17"/>
    <p:sldLayoutId id="2147484127" r:id="rId18"/>
    <p:sldLayoutId id="2147484128" r:id="rId19"/>
    <p:sldLayoutId id="2147484129" r:id="rId20"/>
    <p:sldLayoutId id="2147484130" r:id="rId21"/>
    <p:sldLayoutId id="2147484131" r:id="rId22"/>
    <p:sldLayoutId id="2147484132" r:id="rId23"/>
    <p:sldLayoutId id="2147484133" r:id="rId24"/>
    <p:sldLayoutId id="2147484134" r:id="rId25"/>
    <p:sldLayoutId id="2147484135" r:id="rId26"/>
    <p:sldLayoutId id="2147484136" r:id="rId27"/>
    <p:sldLayoutId id="2147484137" r:id="rId28"/>
    <p:sldLayoutId id="2147484138" r:id="rId29"/>
    <p:sldLayoutId id="2147484139" r:id="rId30"/>
    <p:sldLayoutId id="2147484140" r:id="rId31"/>
    <p:sldLayoutId id="2147484141" r:id="rId32"/>
    <p:sldLayoutId id="2147484142" r:id="rId33"/>
    <p:sldLayoutId id="2147484143" r:id="rId34"/>
    <p:sldLayoutId id="2147484144" r:id="rId35"/>
    <p:sldLayoutId id="2147484145" r:id="rId36"/>
    <p:sldLayoutId id="2147484146" r:id="rId37"/>
    <p:sldLayoutId id="2147484147" r:id="rId38"/>
    <p:sldLayoutId id="2147484148" r:id="rId39"/>
    <p:sldLayoutId id="2147484149" r:id="rId40"/>
    <p:sldLayoutId id="2147484150" r:id="rId41"/>
    <p:sldLayoutId id="2147484151" r:id="rId42"/>
    <p:sldLayoutId id="2147484152" r:id="rId43"/>
    <p:sldLayoutId id="2147484153" r:id="rId44"/>
    <p:sldLayoutId id="2147484154" r:id="rId45"/>
    <p:sldLayoutId id="2147484155" r:id="rId46"/>
    <p:sldLayoutId id="2147484156" r:id="rId47"/>
    <p:sldLayoutId id="2147484157" r:id="rId48"/>
    <p:sldLayoutId id="2147484158" r:id="rId49"/>
    <p:sldLayoutId id="2147484159" r:id="rId50"/>
    <p:sldLayoutId id="2147484160" r:id="rId51"/>
    <p:sldLayoutId id="2147484161" r:id="rId52"/>
    <p:sldLayoutId id="2147484162" r:id="rId53"/>
    <p:sldLayoutId id="2147484163" r:id="rId54"/>
  </p:sldLayoutIdLst>
  <p:transition spd="med"/>
  <p:hf hdr="0" dt="0"/>
  <p:txStyles>
    <p:titleStyle>
      <a:lvl1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2"/>
          </a:solidFill>
          <a:uFillTx/>
          <a:latin typeface="+mj-lt"/>
          <a:ea typeface="+mj-ea"/>
          <a:cs typeface="+mj-cs"/>
          <a:sym typeface="IBM Plex Sans Light"/>
        </a:defRPr>
      </a:lvl1pPr>
      <a:lvl2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35959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27192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407880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543841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914378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1pPr>
      <a:lvl2pPr marL="123441" marR="0" indent="-123441" algn="l" defTabSz="914378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35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2pPr>
      <a:lvl3pPr marL="246882" marR="0" indent="-123441" algn="l" defTabSz="914378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35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3pPr>
      <a:lvl4pPr marL="370323" marR="0" indent="-123441" algn="l" defTabSz="914378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350" b="0" i="0" u="none" strike="noStrike" cap="none" spc="0" baseline="0">
          <a:solidFill>
            <a:schemeClr val="tx1"/>
          </a:solidFill>
          <a:uFillTx/>
          <a:latin typeface="+mj-lt"/>
          <a:ea typeface="+mj-ea"/>
          <a:cs typeface="+mj-cs"/>
          <a:sym typeface="IBM Plex Sans Light"/>
        </a:defRPr>
      </a:lvl4pPr>
      <a:lvl5pPr marL="428615" marR="0" indent="-171446" algn="l" defTabSz="914378" rtl="0" eaLnBrk="1" latinLnBrk="0" hangingPunct="1">
        <a:lnSpc>
          <a:spcPct val="110000"/>
        </a:lnSpc>
        <a:spcBef>
          <a:spcPts val="1088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691131" marR="0" indent="-145874" algn="l" defTabSz="914378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827091" marR="0" indent="-145874" algn="l" defTabSz="914378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963051" marR="0" indent="-145874" algn="l" defTabSz="914378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099010" marR="0" indent="-145874" algn="l" defTabSz="914378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28619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257237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385856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514475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643093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771712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900331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028948" algn="r" defTabSz="68596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7879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For IBM, Clients &amp; Business Partner Use Only </a:t>
            </a:r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7879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9" name="Group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1378623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65" r:id="rId1"/>
    <p:sldLayoutId id="2147484166" r:id="rId2"/>
    <p:sldLayoutId id="2147484167" r:id="rId3"/>
    <p:sldLayoutId id="2147484168" r:id="rId4"/>
    <p:sldLayoutId id="2147484169" r:id="rId5"/>
    <p:sldLayoutId id="2147484170" r:id="rId6"/>
    <p:sldLayoutId id="2147484171" r:id="rId7"/>
    <p:sldLayoutId id="2147484172" r:id="rId8"/>
    <p:sldLayoutId id="2147484173" r:id="rId9"/>
    <p:sldLayoutId id="2147484174" r:id="rId10"/>
    <p:sldLayoutId id="2147484175" r:id="rId11"/>
    <p:sldLayoutId id="2147484176" r:id="rId12"/>
    <p:sldLayoutId id="2147484177" r:id="rId13"/>
    <p:sldLayoutId id="2147484178" r:id="rId14"/>
    <p:sldLayoutId id="2147484179" r:id="rId15"/>
    <p:sldLayoutId id="2147484180" r:id="rId16"/>
    <p:sldLayoutId id="2147484181" r:id="rId17"/>
    <p:sldLayoutId id="2147484182" r:id="rId18"/>
    <p:sldLayoutId id="2147484183" r:id="rId19"/>
    <p:sldLayoutId id="2147484184" r:id="rId20"/>
    <p:sldLayoutId id="2147484185" r:id="rId21"/>
    <p:sldLayoutId id="2147484186" r:id="rId22"/>
    <p:sldLayoutId id="2147484187" r:id="rId23"/>
    <p:sldLayoutId id="2147484188" r:id="rId24"/>
    <p:sldLayoutId id="2147484189" r:id="rId25"/>
    <p:sldLayoutId id="2147484190" r:id="rId26"/>
    <p:sldLayoutId id="2147484191" r:id="rId27"/>
    <p:sldLayoutId id="2147484192" r:id="rId28"/>
    <p:sldLayoutId id="2147484193" r:id="rId29"/>
    <p:sldLayoutId id="2147484194" r:id="rId30"/>
    <p:sldLayoutId id="2147484195" r:id="rId31"/>
    <p:sldLayoutId id="2147484196" r:id="rId32"/>
    <p:sldLayoutId id="2147484197" r:id="rId33"/>
    <p:sldLayoutId id="2147484198" r:id="rId34"/>
    <p:sldLayoutId id="2147484199" r:id="rId35"/>
    <p:sldLayoutId id="2147484200" r:id="rId36"/>
    <p:sldLayoutId id="2147484201" r:id="rId37"/>
    <p:sldLayoutId id="2147484202" r:id="rId38"/>
    <p:sldLayoutId id="2147484203" r:id="rId39"/>
    <p:sldLayoutId id="2147484204" r:id="rId4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0">
          <a:solidFill>
            <a:schemeClr val="tx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4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4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400" baseline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40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Arial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Arial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Arial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826948" y="4852130"/>
            <a:ext cx="101577" cy="92333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 anchorCtr="0">
            <a:spAutoFit/>
          </a:bodyPr>
          <a:lstStyle>
            <a:lvl1pPr algn="r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  <a:ea typeface="+mn-ea"/>
                <a:cs typeface="+mn-cs"/>
                <a:sym typeface="IBM Plex Sans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xfrm>
            <a:off x="215999" y="216027"/>
            <a:ext cx="8470194" cy="9941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Title Text</a:t>
            </a:r>
          </a:p>
        </p:txBody>
      </p:sp>
      <p:sp>
        <p:nvSpPr>
          <p:cNvPr id="49" name="Body Level One…"/>
          <p:cNvSpPr txBox="1">
            <a:spLocks noGrp="1"/>
          </p:cNvSpPr>
          <p:nvPr>
            <p:ph type="body" idx="1"/>
          </p:nvPr>
        </p:nvSpPr>
        <p:spPr>
          <a:xfrm>
            <a:off x="215475" y="1247775"/>
            <a:ext cx="8470194" cy="32510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  <a:endParaRPr lang="en-CA" dirty="0"/>
          </a:p>
          <a:p>
            <a:pPr lvl="2"/>
            <a:r>
              <a:rPr lang="en-CA" dirty="0"/>
              <a:t>Body Level Three</a:t>
            </a:r>
          </a:p>
          <a:p>
            <a:pPr lvl="3"/>
            <a:r>
              <a:rPr lang="en-CA" dirty="0"/>
              <a:t>Body Level Fou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B465A-FE7F-6B71-D716-1673174BB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094" y="4801588"/>
            <a:ext cx="1858324" cy="14287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4674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07" r:id="rId1"/>
    <p:sldLayoutId id="2147484208" r:id="rId2"/>
    <p:sldLayoutId id="2147484209" r:id="rId3"/>
    <p:sldLayoutId id="2147484210" r:id="rId4"/>
    <p:sldLayoutId id="2147484211" r:id="rId5"/>
    <p:sldLayoutId id="2147484212" r:id="rId6"/>
    <p:sldLayoutId id="2147484213" r:id="rId7"/>
    <p:sldLayoutId id="2147484214" r:id="rId8"/>
    <p:sldLayoutId id="2147484215" r:id="rId9"/>
    <p:sldLayoutId id="2147484216" r:id="rId10"/>
    <p:sldLayoutId id="2147484217" r:id="rId11"/>
    <p:sldLayoutId id="2147484218" r:id="rId12"/>
    <p:sldLayoutId id="2147484219" r:id="rId13"/>
    <p:sldLayoutId id="2147484220" r:id="rId14"/>
    <p:sldLayoutId id="2147484221" r:id="rId15"/>
    <p:sldLayoutId id="2147484222" r:id="rId16"/>
    <p:sldLayoutId id="2147484223" r:id="rId17"/>
    <p:sldLayoutId id="2147484224" r:id="rId18"/>
    <p:sldLayoutId id="2147484225" r:id="rId19"/>
    <p:sldLayoutId id="2147484226" r:id="rId20"/>
    <p:sldLayoutId id="2147484227" r:id="rId21"/>
    <p:sldLayoutId id="2147484228" r:id="rId22"/>
    <p:sldLayoutId id="2147484229" r:id="rId23"/>
    <p:sldLayoutId id="2147484230" r:id="rId24"/>
    <p:sldLayoutId id="2147484231" r:id="rId25"/>
    <p:sldLayoutId id="2147484232" r:id="rId26"/>
    <p:sldLayoutId id="2147484233" r:id="rId27"/>
    <p:sldLayoutId id="2147484234" r:id="rId28"/>
    <p:sldLayoutId id="2147484235" r:id="rId29"/>
    <p:sldLayoutId id="2147484236" r:id="rId30"/>
    <p:sldLayoutId id="2147484237" r:id="rId31"/>
    <p:sldLayoutId id="2147484238" r:id="rId32"/>
    <p:sldLayoutId id="2147484239" r:id="rId33"/>
    <p:sldLayoutId id="2147484240" r:id="rId34"/>
    <p:sldLayoutId id="2147484241" r:id="rId35"/>
    <p:sldLayoutId id="2147484242" r:id="rId36"/>
    <p:sldLayoutId id="2147484243" r:id="rId37"/>
    <p:sldLayoutId id="2147484244" r:id="rId38"/>
    <p:sldLayoutId id="2147484245" r:id="rId39"/>
    <p:sldLayoutId id="2147484246" r:id="rId40"/>
    <p:sldLayoutId id="2147484247" r:id="rId41"/>
    <p:sldLayoutId id="2147484248" r:id="rId42"/>
    <p:sldLayoutId id="2147484249" r:id="rId43"/>
    <p:sldLayoutId id="2147484250" r:id="rId44"/>
    <p:sldLayoutId id="2147484251" r:id="rId45"/>
    <p:sldLayoutId id="2147484252" r:id="rId46"/>
  </p:sldLayoutIdLst>
  <p:transition spd="med"/>
  <p:hf sldNum="0" hdr="0" ftr="0" dt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chemeClr val="tx2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0" marR="0" indent="135963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0" marR="0" indent="271927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0" marR="0" indent="40789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0" marR="0" indent="543854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Tx/>
        <a:buFont typeface="Arial" panose="020B0604020202020204" pitchFamily="34" charset="0"/>
        <a:buNone/>
        <a:tabLst/>
        <a:defRPr sz="135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1pPr>
      <a:lvl2pPr marL="122850" marR="0" indent="-12285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35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2pPr>
      <a:lvl3pPr marL="247050" marR="0" indent="-12285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35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3pPr>
      <a:lvl4pPr marL="369900" marR="0" indent="-12285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350" b="0" i="0" u="none" strike="noStrike" cap="none" spc="0" baseline="0">
          <a:solidFill>
            <a:schemeClr val="tx1"/>
          </a:solidFill>
          <a:uFillTx/>
          <a:latin typeface="IBM Plex Sans Light" panose="020B0403050203000203" pitchFamily="34" charset="0"/>
          <a:ea typeface="+mj-ea"/>
          <a:cs typeface="+mj-cs"/>
          <a:sym typeface="IBM Plex Sans Light"/>
        </a:defRPr>
      </a:lvl4pPr>
      <a:lvl5pPr marL="257175" marR="0" indent="0" algn="l" defTabSz="914400" rtl="0" eaLnBrk="1" latinLnBrk="0" hangingPunct="1">
        <a:lnSpc>
          <a:spcPct val="110000"/>
        </a:lnSpc>
        <a:spcBef>
          <a:spcPts val="1088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5pPr>
      <a:lvl6pPr marL="691148" marR="0" indent="-145878" algn="l" defTabSz="914400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6pPr>
      <a:lvl7pPr marL="827112" marR="0" indent="-145878" algn="l" defTabSz="914400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7pPr>
      <a:lvl8pPr marL="963075" marR="0" indent="-145878" algn="l" defTabSz="914400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8pPr>
      <a:lvl9pPr marL="1099038" marR="0" indent="-145878" algn="l" defTabSz="914400" rtl="0" eaLnBrk="1" latinLnBrk="0" hangingPunct="1">
        <a:lnSpc>
          <a:spcPct val="100000"/>
        </a:lnSpc>
        <a:spcBef>
          <a:spcPts val="1088"/>
        </a:spcBef>
        <a:spcAft>
          <a:spcPts val="0"/>
        </a:spcAft>
        <a:buClrTx/>
        <a:buSzPct val="100000"/>
        <a:buFontTx/>
        <a:buChar char="»"/>
        <a:tabLst/>
        <a:defRPr sz="135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IBM Plex Sans Light"/>
        </a:defRPr>
      </a:lvl9pPr>
    </p:bodyStyle>
    <p:otherStyle>
      <a:lvl1pPr marL="0" marR="0" indent="0" algn="r" defTabSz="6859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1pPr>
      <a:lvl2pPr marL="0" marR="0" indent="128622" algn="r" defTabSz="6859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2pPr>
      <a:lvl3pPr marL="0" marR="0" indent="257243" algn="r" defTabSz="6859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3pPr>
      <a:lvl4pPr marL="0" marR="0" indent="385865" algn="r" defTabSz="6859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4pPr>
      <a:lvl5pPr marL="0" marR="0" indent="514487" algn="r" defTabSz="6859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5pPr>
      <a:lvl6pPr marL="0" marR="0" indent="643109" algn="r" defTabSz="6859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6pPr>
      <a:lvl7pPr marL="0" marR="0" indent="771731" algn="r" defTabSz="6859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7pPr>
      <a:lvl8pPr marL="0" marR="0" indent="900353" algn="r" defTabSz="6859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8pPr>
      <a:lvl9pPr marL="0" marR="0" indent="1028974" algn="r" defTabSz="68598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BM Plex San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0F62FE"/>
          </p15:clr>
        </p15:guide>
        <p15:guide id="3" pos="364">
          <p15:clr>
            <a:srgbClr val="EE5396"/>
          </p15:clr>
        </p15:guide>
        <p15:guide id="4" pos="3840">
          <p15:clr>
            <a:srgbClr val="0F62FE"/>
          </p15:clr>
        </p15:guide>
        <p15:guide id="5" pos="1916">
          <p15:clr>
            <a:srgbClr val="EE5396"/>
          </p15:clr>
        </p15:guide>
        <p15:guide id="6" pos="5756">
          <p15:clr>
            <a:srgbClr val="EE5396"/>
          </p15:clr>
        </p15:guide>
        <p15:guide id="7" pos="7319">
          <p15:clr>
            <a:srgbClr val="EE5396"/>
          </p15:clr>
        </p15:guide>
        <p15:guide id="8" pos="8040">
          <p15:clr>
            <a:srgbClr val="EE5396"/>
          </p15:clr>
        </p15:guide>
        <p15:guide id="9" pos="4200">
          <p15:clr>
            <a:srgbClr val="EE5396"/>
          </p15:clr>
        </p15:guide>
        <p15:guide id="10" pos="3480">
          <p15:clr>
            <a:srgbClr val="EE5396"/>
          </p15:clr>
        </p15:guide>
        <p15:guide id="11" pos="9594">
          <p15:clr>
            <a:srgbClr val="EE5396"/>
          </p15:clr>
        </p15:guide>
        <p15:guide id="13" pos="11160">
          <p15:clr>
            <a:srgbClr val="EE5396"/>
          </p15:clr>
        </p15:guide>
        <p15:guide id="14" pos="11880">
          <p15:clr>
            <a:srgbClr val="EE5396"/>
          </p15:clr>
        </p15:guide>
        <p15:guide id="15" pos="13440">
          <p15:clr>
            <a:srgbClr val="EE5396"/>
          </p15:clr>
        </p15:guide>
        <p15:guide id="16" pos="14995">
          <p15:clr>
            <a:srgbClr val="EE5396"/>
          </p15:clr>
        </p15:guide>
        <p15:guide id="17" orient="horz" pos="2160">
          <p15:clr>
            <a:srgbClr val="0F62FE"/>
          </p15:clr>
        </p15:guide>
        <p15:guide id="19" orient="horz" pos="3240">
          <p15:clr>
            <a:srgbClr val="EE5396"/>
          </p15:clr>
        </p15:guide>
        <p15:guide id="20" orient="horz" pos="1080">
          <p15:clr>
            <a:srgbClr val="EE5396"/>
          </p15:clr>
        </p15:guide>
        <p15:guide id="21" orient="horz" pos="364">
          <p15:clr>
            <a:srgbClr val="EE5396"/>
          </p15:clr>
        </p15:guide>
        <p15:guide id="22" orient="horz" pos="5400">
          <p15:clr>
            <a:srgbClr val="EE5396"/>
          </p15:clr>
        </p15:guide>
        <p15:guide id="24" orient="horz" pos="7557">
          <p15:clr>
            <a:srgbClr val="EE5396"/>
          </p15:clr>
        </p15:guide>
        <p15:guide id="25" orient="horz" pos="8273">
          <p15:clr>
            <a:srgbClr val="EE5396"/>
          </p15:clr>
        </p15:guide>
        <p15:guide id="26" pos="7680">
          <p15:clr>
            <a:srgbClr val="0F62FE"/>
          </p15:clr>
        </p15:guide>
        <p15:guide id="27" pos="11520">
          <p15:clr>
            <a:srgbClr val="0F62FE"/>
          </p15:clr>
        </p15:guide>
        <p15:guide id="28" orient="horz" pos="6480">
          <p15:clr>
            <a:srgbClr val="0F62FE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apers.ssrn.com/sol3/papers.cfm?abstract_id=4573321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3.png"/><Relationship Id="rId18" Type="http://schemas.openxmlformats.org/officeDocument/2006/relationships/image" Target="../media/image48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17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6.svg"/><Relationship Id="rId1" Type="http://schemas.openxmlformats.org/officeDocument/2006/relationships/slideLayout" Target="../slideLayouts/slideLayout317.xml"/><Relationship Id="rId6" Type="http://schemas.openxmlformats.org/officeDocument/2006/relationships/image" Target="../media/image36.sv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.sv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1.svg"/><Relationship Id="rId12" Type="http://schemas.openxmlformats.org/officeDocument/2006/relationships/image" Target="../media/image56.png"/><Relationship Id="rId17" Type="http://schemas.openxmlformats.org/officeDocument/2006/relationships/image" Target="../media/image61.svg"/><Relationship Id="rId2" Type="http://schemas.openxmlformats.org/officeDocument/2006/relationships/slideLayout" Target="../slideLayouts/slideLayout282.xml"/><Relationship Id="rId16" Type="http://schemas.openxmlformats.org/officeDocument/2006/relationships/image" Target="../media/image60.png"/><Relationship Id="rId1" Type="http://schemas.openxmlformats.org/officeDocument/2006/relationships/tags" Target="../tags/tag1.xml"/><Relationship Id="rId6" Type="http://schemas.openxmlformats.org/officeDocument/2006/relationships/image" Target="../media/image50.png"/><Relationship Id="rId11" Type="http://schemas.openxmlformats.org/officeDocument/2006/relationships/image" Target="../media/image55.svg"/><Relationship Id="rId5" Type="http://schemas.openxmlformats.org/officeDocument/2006/relationships/image" Target="../media/image49.emf"/><Relationship Id="rId15" Type="http://schemas.openxmlformats.org/officeDocument/2006/relationships/image" Target="../media/image59.svg"/><Relationship Id="rId10" Type="http://schemas.openxmlformats.org/officeDocument/2006/relationships/image" Target="../media/image5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3.svg"/><Relationship Id="rId14" Type="http://schemas.openxmlformats.org/officeDocument/2006/relationships/image" Target="../media/image5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products/watsonx-governance" TargetMode="External"/><Relationship Id="rId3" Type="http://schemas.openxmlformats.org/officeDocument/2006/relationships/hyperlink" Target="https://home.treasury.gov/news/press-releases/jy2212" TargetMode="External"/><Relationship Id="rId7" Type="http://schemas.openxmlformats.org/officeDocument/2006/relationships/hyperlink" Target="https://art360.res.ibm.com/" TargetMode="External"/><Relationship Id="rId12" Type="http://schemas.openxmlformats.org/officeDocument/2006/relationships/image" Target="../media/image63.png"/><Relationship Id="rId2" Type="http://schemas.openxmlformats.org/officeDocument/2006/relationships/hyperlink" Target="https://airc.nist.gov/AI_RMF_Knowledge_Base/Playbook" TargetMode="External"/><Relationship Id="rId1" Type="http://schemas.openxmlformats.org/officeDocument/2006/relationships/slideLayout" Target="../slideLayouts/slideLayout232.xml"/><Relationship Id="rId6" Type="http://schemas.openxmlformats.org/officeDocument/2006/relationships/hyperlink" Target="https://aifs360.res.ibm.com/" TargetMode="External"/><Relationship Id="rId11" Type="http://schemas.openxmlformats.org/officeDocument/2006/relationships/hyperlink" Target="https://ibm.biz/fsccandf" TargetMode="External"/><Relationship Id="rId5" Type="http://schemas.openxmlformats.org/officeDocument/2006/relationships/hyperlink" Target="https://www.ibm.com/policy/trust-transparency-new/" TargetMode="External"/><Relationship Id="rId10" Type="http://schemas.openxmlformats.org/officeDocument/2006/relationships/image" Target="../media/image62.png"/><Relationship Id="rId4" Type="http://schemas.openxmlformats.org/officeDocument/2006/relationships/hyperlink" Target="https://www.ibm.com/policy/ibm-artificial-intelligence-pillars/" TargetMode="External"/><Relationship Id="rId9" Type="http://schemas.openxmlformats.org/officeDocument/2006/relationships/hyperlink" Target="mailto:David.Kliemann@ibm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1" y="201168"/>
            <a:ext cx="5988357" cy="4294632"/>
          </a:xfrm>
        </p:spPr>
        <p:txBody>
          <a:bodyPr/>
          <a:lstStyle/>
          <a:p>
            <a:pPr defTabSz="914400"/>
            <a:r>
              <a:rPr lang="en-US" dirty="0"/>
              <a:t>Trusted and Secure Generative AI (Gen AI) </a:t>
            </a:r>
            <a:br>
              <a:rPr lang="en-US" dirty="0"/>
            </a:br>
            <a:r>
              <a:rPr lang="en-US" dirty="0"/>
              <a:t>Adoption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sz="1800" dirty="0"/>
            </a:br>
            <a:br>
              <a:rPr lang="en-US" sz="1800" dirty="0"/>
            </a:br>
            <a:br>
              <a:rPr lang="en-US" sz="1800" dirty="0"/>
            </a:br>
            <a:r>
              <a:rPr lang="en-US" sz="1800" dirty="0"/>
              <a:t>April 2024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sz="1600" dirty="0"/>
            </a:br>
            <a:endParaRPr lang="en-US" sz="1600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3AA2BF70-C444-681C-B73D-A0A68B8E84B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IBM Cloud/ 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899192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258C8E75-D674-04BE-E864-91B6B78268F8}"/>
              </a:ext>
            </a:extLst>
          </p:cNvPr>
          <p:cNvSpPr/>
          <p:nvPr/>
        </p:nvSpPr>
        <p:spPr bwMode="auto">
          <a:xfrm>
            <a:off x="1191" y="1339"/>
            <a:ext cx="2284512" cy="5136249"/>
          </a:xfrm>
          <a:prstGeom prst="rect">
            <a:avLst/>
          </a:prstGeom>
          <a:solidFill>
            <a:srgbClr val="E5F6FF"/>
          </a:solidFill>
          <a:ln w="19050">
            <a:solidFill>
              <a:srgbClr val="E5F6FF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77" tIns="34277" rIns="34277" bIns="34277" numCol="1" rtlCol="0" anchor="t" anchorCtr="0" compatLnSpc="1">
            <a:prstTxWarp prst="textNoShape">
              <a:avLst/>
            </a:prstTxWarp>
          </a:bodyPr>
          <a:lstStyle/>
          <a:p>
            <a:pPr defTabSz="342768" fontAlgn="base">
              <a:spcBef>
                <a:spcPct val="0"/>
              </a:spcBef>
              <a:spcAft>
                <a:spcPct val="0"/>
              </a:spcAft>
            </a:pPr>
            <a:endParaRPr lang="en-US" sz="525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F16C4D1-69EE-D08B-6C8F-11062229C74A}"/>
              </a:ext>
            </a:extLst>
          </p:cNvPr>
          <p:cNvSpPr txBox="1">
            <a:spLocks/>
          </p:cNvSpPr>
          <p:nvPr/>
        </p:nvSpPr>
        <p:spPr>
          <a:xfrm>
            <a:off x="4881962" y="262389"/>
            <a:ext cx="1799306" cy="714462"/>
          </a:xfrm>
          <a:prstGeom prst="rect">
            <a:avLst/>
          </a:prstGeom>
        </p:spPr>
        <p:txBody>
          <a:bodyPr/>
          <a:lstStyle>
            <a:lvl1pPr marL="0" marR="0" indent="0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59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18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77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86" marR="0" indent="-228554" algn="l" defTabSz="1218956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46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595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43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091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457109"/>
            <a:r>
              <a:rPr lang="en-US" sz="1350" kern="0" dirty="0">
                <a:solidFill>
                  <a:srgbClr val="0F62FE"/>
                </a:solidFill>
                <a:latin typeface="IBM Plex Sans Light"/>
              </a:rPr>
              <a:t>Summaries of documents and conversation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1E14713-B6ED-28CD-75B6-076D005C0E26}"/>
              </a:ext>
            </a:extLst>
          </p:cNvPr>
          <p:cNvSpPr txBox="1">
            <a:spLocks/>
          </p:cNvSpPr>
          <p:nvPr/>
        </p:nvSpPr>
        <p:spPr>
          <a:xfrm>
            <a:off x="7082746" y="222131"/>
            <a:ext cx="1665231" cy="830817"/>
          </a:xfrm>
          <a:prstGeom prst="rect">
            <a:avLst/>
          </a:prstGeom>
        </p:spPr>
        <p:txBody>
          <a:bodyPr lIns="91428" tIns="45714" rIns="91428" bIns="45714" anchor="t"/>
          <a:lstStyle>
            <a:lvl1pPr marL="0" marR="0" indent="0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59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18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77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86" marR="0" indent="-228554" algn="l" defTabSz="1218956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46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595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43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091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457109"/>
            <a:r>
              <a:rPr lang="en-US" sz="1350" kern="0" dirty="0">
                <a:solidFill>
                  <a:srgbClr val="0F62FE"/>
                </a:solidFill>
                <a:latin typeface="IBM Plex Sans Light"/>
              </a:rPr>
              <a:t>AI-powered content generation</a:t>
            </a:r>
          </a:p>
          <a:p>
            <a:pPr defTabSz="457109"/>
            <a:endParaRPr lang="en-US" sz="1200" kern="0" dirty="0">
              <a:solidFill>
                <a:srgbClr val="0F62FE"/>
              </a:solidFill>
              <a:latin typeface="IBM Plex Sans Ligh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B91F6-DBED-CD7F-B9B6-E933949326BA}"/>
              </a:ext>
            </a:extLst>
          </p:cNvPr>
          <p:cNvCxnSpPr>
            <a:cxnSpLocks/>
          </p:cNvCxnSpPr>
          <p:nvPr/>
        </p:nvCxnSpPr>
        <p:spPr bwMode="auto">
          <a:xfrm>
            <a:off x="6857107" y="287856"/>
            <a:ext cx="0" cy="435661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3FD890-2CB6-BFAA-492E-2494197DCE23}"/>
              </a:ext>
            </a:extLst>
          </p:cNvPr>
          <p:cNvCxnSpPr>
            <a:cxnSpLocks/>
          </p:cNvCxnSpPr>
          <p:nvPr/>
        </p:nvCxnSpPr>
        <p:spPr bwMode="auto">
          <a:xfrm>
            <a:off x="2499987" y="2354784"/>
            <a:ext cx="6425562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7691CCF-CE9A-73A4-B294-A68A3241EA0C}"/>
              </a:ext>
            </a:extLst>
          </p:cNvPr>
          <p:cNvSpPr txBox="1"/>
          <p:nvPr/>
        </p:nvSpPr>
        <p:spPr>
          <a:xfrm>
            <a:off x="2499987" y="1091103"/>
            <a:ext cx="1881009" cy="90023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91428" tIns="45714" rIns="91428" bIns="45714" anchor="t">
            <a:spAutoFit/>
          </a:bodyPr>
          <a:lstStyle/>
          <a:p>
            <a:pPr defTabSz="686017">
              <a:spcBef>
                <a:spcPts val="450"/>
              </a:spcBef>
            </a:pPr>
            <a:r>
              <a:rPr lang="en-US" sz="1050" dirty="0">
                <a:solidFill>
                  <a:srgbClr val="000000"/>
                </a:solidFill>
                <a:latin typeface="IBM Plex Sans Light"/>
              </a:rPr>
              <a:t>Use chatbots that have been trained on a broad knowledge base to help employees do work or to respond to customer issue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92618C0-CF6E-F403-D957-9F59C50BD438}"/>
              </a:ext>
            </a:extLst>
          </p:cNvPr>
          <p:cNvSpPr txBox="1"/>
          <p:nvPr/>
        </p:nvSpPr>
        <p:spPr>
          <a:xfrm>
            <a:off x="4786097" y="1109548"/>
            <a:ext cx="1853342" cy="819443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91428" tIns="45714" rIns="91428" bIns="45714" anchor="t">
            <a:spAutoFit/>
          </a:bodyPr>
          <a:lstStyle/>
          <a:p>
            <a:pPr defTabSz="686017">
              <a:lnSpc>
                <a:spcPct val="90000"/>
              </a:lnSpc>
              <a:spcBef>
                <a:spcPts val="675"/>
              </a:spcBef>
            </a:pPr>
            <a:r>
              <a:rPr lang="en-US" sz="1050" dirty="0">
                <a:solidFill>
                  <a:srgbClr val="000000"/>
                </a:solidFill>
                <a:latin typeface="IBM Plex Sans Light"/>
              </a:rPr>
              <a:t>Transform text into personalized overviews </a:t>
            </a:r>
            <a:br>
              <a:rPr lang="en-US" sz="1050" dirty="0">
                <a:solidFill>
                  <a:srgbClr val="000000"/>
                </a:solidFill>
                <a:latin typeface="IBM Plex Sans Light"/>
              </a:rPr>
            </a:br>
            <a:r>
              <a:rPr lang="en-US" sz="1050" dirty="0">
                <a:solidFill>
                  <a:srgbClr val="000000"/>
                </a:solidFill>
                <a:latin typeface="IBM Plex Sans Light"/>
              </a:rPr>
              <a:t>that capture key points </a:t>
            </a:r>
            <a:br>
              <a:rPr lang="en-US" sz="1050" dirty="0">
                <a:solidFill>
                  <a:srgbClr val="000000"/>
                </a:solidFill>
                <a:latin typeface="IBM Plex Sans Light"/>
              </a:rPr>
            </a:br>
            <a:r>
              <a:rPr lang="en-US" sz="1050" dirty="0">
                <a:solidFill>
                  <a:srgbClr val="000000"/>
                </a:solidFill>
                <a:latin typeface="IBM Plex Sans Light"/>
              </a:rPr>
              <a:t>and facilitate handoffs </a:t>
            </a:r>
            <a:br>
              <a:rPr lang="en-US" sz="1050" dirty="0">
                <a:solidFill>
                  <a:srgbClr val="000000"/>
                </a:solidFill>
                <a:latin typeface="IBM Plex Sans Light"/>
              </a:rPr>
            </a:br>
            <a:r>
              <a:rPr lang="en-US" sz="1050" dirty="0">
                <a:solidFill>
                  <a:srgbClr val="000000"/>
                </a:solidFill>
                <a:latin typeface="IBM Plex Sans Light"/>
              </a:rPr>
              <a:t>to live agents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4B22A3D-DA02-EB30-B0BF-6B79582FC6A6}"/>
              </a:ext>
            </a:extLst>
          </p:cNvPr>
          <p:cNvSpPr txBox="1"/>
          <p:nvPr/>
        </p:nvSpPr>
        <p:spPr>
          <a:xfrm>
            <a:off x="7082746" y="1089938"/>
            <a:ext cx="1665231" cy="73865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91428" tIns="45714" rIns="91428" bIns="45714" anchor="t">
            <a:spAutoFit/>
          </a:bodyPr>
          <a:lstStyle/>
          <a:p>
            <a:pPr defTabSz="686017"/>
            <a:r>
              <a:rPr lang="en-US" sz="1050" dirty="0">
                <a:solidFill>
                  <a:srgbClr val="000000"/>
                </a:solidFill>
                <a:latin typeface="IBM Plex Sans Light"/>
              </a:rPr>
              <a:t>Write blog posts, job descriptions, emails, and more. Generate and transform software code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57F9BE2-2A4F-FB0F-AD42-7907FF10A358}"/>
              </a:ext>
            </a:extLst>
          </p:cNvPr>
          <p:cNvSpPr txBox="1"/>
          <p:nvPr/>
        </p:nvSpPr>
        <p:spPr>
          <a:xfrm>
            <a:off x="216666" y="864815"/>
            <a:ext cx="1832493" cy="101566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defTabSz="914228">
              <a:defRPr/>
            </a:pPr>
            <a:r>
              <a:rPr lang="en-US" sz="1650" kern="0" dirty="0">
                <a:solidFill>
                  <a:srgbClr val="000000"/>
                </a:solidFill>
                <a:latin typeface="IBM Plex Sans Light"/>
                <a:cs typeface="Arial"/>
                <a:sym typeface="Arial"/>
              </a:rPr>
              <a:t>Generative AI is ushering in the age of the </a:t>
            </a:r>
            <a:r>
              <a:rPr lang="en-US" sz="1650" kern="0" dirty="0">
                <a:solidFill>
                  <a:srgbClr val="0F62FE"/>
                </a:solidFill>
                <a:latin typeface="IBM Plex Sans Light"/>
                <a:cs typeface="Arial"/>
                <a:sym typeface="Arial"/>
              </a:rPr>
              <a:t>augmented workforce</a:t>
            </a:r>
            <a:endParaRPr lang="en-US" sz="1650" kern="0" baseline="30000" dirty="0">
              <a:solidFill>
                <a:srgbClr val="0F62FE"/>
              </a:solidFill>
              <a:latin typeface="IBM Plex Sans Light"/>
              <a:cs typeface="Arial"/>
              <a:sym typeface="Arial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D8679008-61CE-131A-BDD6-831CB877CB69}"/>
              </a:ext>
            </a:extLst>
          </p:cNvPr>
          <p:cNvSpPr txBox="1">
            <a:spLocks/>
          </p:cNvSpPr>
          <p:nvPr/>
        </p:nvSpPr>
        <p:spPr>
          <a:xfrm>
            <a:off x="7087999" y="2584486"/>
            <a:ext cx="1935490" cy="418360"/>
          </a:xfrm>
          <a:prstGeom prst="rect">
            <a:avLst/>
          </a:prstGeom>
        </p:spPr>
        <p:txBody>
          <a:bodyPr lIns="91428" tIns="45714" rIns="91428" bIns="45714" anchor="t"/>
          <a:lstStyle>
            <a:lvl1pPr marL="0" marR="0" indent="0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59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18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77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86" marR="0" indent="-228554" algn="l" defTabSz="1218956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46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595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43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091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457109"/>
            <a:r>
              <a:rPr lang="en-US" sz="1350" kern="0" dirty="0">
                <a:solidFill>
                  <a:srgbClr val="0F62FE"/>
                </a:solidFill>
                <a:latin typeface="IBM Plex Sans Light"/>
              </a:rPr>
              <a:t>Information search </a:t>
            </a:r>
            <a:br>
              <a:rPr lang="en-US" sz="1350" kern="0" dirty="0">
                <a:solidFill>
                  <a:srgbClr val="0F62FE"/>
                </a:solidFill>
                <a:latin typeface="IBM Plex Sans Light"/>
              </a:rPr>
            </a:br>
            <a:r>
              <a:rPr lang="en-US" sz="1350" kern="0" dirty="0">
                <a:solidFill>
                  <a:srgbClr val="0F62FE"/>
                </a:solidFill>
                <a:latin typeface="IBM Plex Sans Light"/>
              </a:rPr>
              <a:t>and data extraction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0EDC30D-215F-A421-FF25-B3D10C7A68EF}"/>
              </a:ext>
            </a:extLst>
          </p:cNvPr>
          <p:cNvSpPr txBox="1">
            <a:spLocks/>
          </p:cNvSpPr>
          <p:nvPr/>
        </p:nvSpPr>
        <p:spPr>
          <a:xfrm>
            <a:off x="4802128" y="2584485"/>
            <a:ext cx="1873046" cy="646246"/>
          </a:xfrm>
          <a:prstGeom prst="rect">
            <a:avLst/>
          </a:prstGeom>
        </p:spPr>
        <p:txBody>
          <a:bodyPr lIns="91428" tIns="45714" rIns="91428" bIns="45714" anchor="t"/>
          <a:lstStyle>
            <a:lvl1pPr marL="0" marR="0" indent="0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59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18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77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86" marR="0" indent="-228554" algn="l" defTabSz="1218956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46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595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43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091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457109"/>
            <a:r>
              <a:rPr lang="en-US" sz="1350" kern="0" dirty="0">
                <a:solidFill>
                  <a:srgbClr val="0F62FE"/>
                </a:solidFill>
                <a:latin typeface="IBM Plex Sans Light"/>
              </a:rPr>
              <a:t>AI-powered business intelligence </a:t>
            </a:r>
            <a:endParaRPr lang="en-US" sz="2025" dirty="0">
              <a:solidFill>
                <a:srgbClr val="0F62FE"/>
              </a:solidFill>
              <a:latin typeface="IBM Plex Sans Ligh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5FE59E-1E68-25D3-07D9-33BD482F31C3}"/>
              </a:ext>
            </a:extLst>
          </p:cNvPr>
          <p:cNvSpPr txBox="1"/>
          <p:nvPr/>
        </p:nvSpPr>
        <p:spPr>
          <a:xfrm>
            <a:off x="2512214" y="3211211"/>
            <a:ext cx="2012175" cy="90023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91428" tIns="45714" rIns="91428" bIns="45714" anchor="t">
            <a:spAutoFit/>
          </a:bodyPr>
          <a:lstStyle/>
          <a:p>
            <a:pPr defTabSz="686017">
              <a:spcBef>
                <a:spcPts val="450"/>
              </a:spcBef>
            </a:pPr>
            <a:r>
              <a:rPr lang="en-US" sz="1050" dirty="0">
                <a:solidFill>
                  <a:srgbClr val="000000"/>
                </a:solidFill>
                <a:latin typeface="IBM Plex Sans Light"/>
              </a:rPr>
              <a:t>Automate simple tasks. Receive guided support through complex processes and workflows that involve multiple business applications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8A29692-0C23-9759-76E0-3ACB6C276C9E}"/>
              </a:ext>
            </a:extLst>
          </p:cNvPr>
          <p:cNvSpPr txBox="1"/>
          <p:nvPr/>
        </p:nvSpPr>
        <p:spPr>
          <a:xfrm>
            <a:off x="7086531" y="3220740"/>
            <a:ext cx="1873750" cy="138498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91428" tIns="45714" rIns="91428" bIns="45714" anchor="t">
            <a:spAutoFit/>
          </a:bodyPr>
          <a:lstStyle/>
          <a:p>
            <a:pPr defTabSz="686017">
              <a:spcBef>
                <a:spcPts val="450"/>
              </a:spcBef>
            </a:pPr>
            <a:r>
              <a:rPr lang="en-US" sz="1050" dirty="0">
                <a:solidFill>
                  <a:srgbClr val="000000"/>
                </a:solidFill>
                <a:latin typeface="IBM Plex Sans Light"/>
              </a:rPr>
              <a:t>Extract key points from content that has been stored as unstructured text. Search and identify essential information needed for compliance processes like financial audits and regulatory filings.</a:t>
            </a:r>
            <a:endParaRPr lang="en-US" sz="1050" dirty="0">
              <a:solidFill>
                <a:srgbClr val="808080"/>
              </a:solidFill>
              <a:latin typeface="IBM Plex Sans Ligh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2705FB0-F17E-5522-AFD1-3CB3B86CA236}"/>
              </a:ext>
            </a:extLst>
          </p:cNvPr>
          <p:cNvSpPr txBox="1"/>
          <p:nvPr/>
        </p:nvSpPr>
        <p:spPr>
          <a:xfrm>
            <a:off x="4813586" y="3211211"/>
            <a:ext cx="1995911" cy="90023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91428" tIns="45714" rIns="91428" bIns="45714" anchor="t">
            <a:spAutoFit/>
          </a:bodyPr>
          <a:lstStyle/>
          <a:p>
            <a:pPr defTabSz="686017"/>
            <a:r>
              <a:rPr lang="en-US" sz="1050" dirty="0">
                <a:solidFill>
                  <a:srgbClr val="000000"/>
                </a:solidFill>
                <a:latin typeface="IBM Plex Sans Light"/>
              </a:rPr>
              <a:t>Classify and sort customer complaints, threats, and vulnerabilities. Perform sentiment analysis and segment customers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C80F7FF-CCA2-5479-B6B2-5DD49F2C4285}"/>
              </a:ext>
            </a:extLst>
          </p:cNvPr>
          <p:cNvSpPr txBox="1">
            <a:spLocks/>
          </p:cNvSpPr>
          <p:nvPr/>
        </p:nvSpPr>
        <p:spPr>
          <a:xfrm>
            <a:off x="2515126" y="2635710"/>
            <a:ext cx="1856538" cy="418360"/>
          </a:xfrm>
          <a:prstGeom prst="rect">
            <a:avLst/>
          </a:prstGeom>
        </p:spPr>
        <p:txBody>
          <a:bodyPr lIns="91428" tIns="45714" rIns="91428" bIns="45714" anchor="t"/>
          <a:lstStyle>
            <a:lvl1pPr marL="0" marR="0" indent="0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59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18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77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86" marR="0" indent="-228554" algn="l" defTabSz="1218956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46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595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43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091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457109"/>
            <a:r>
              <a:rPr lang="en-US" sz="1350" kern="0" dirty="0">
                <a:solidFill>
                  <a:srgbClr val="0F62FE"/>
                </a:solidFill>
                <a:latin typeface="IBM Plex Sans Light"/>
              </a:rPr>
              <a:t>Work automation</a:t>
            </a:r>
            <a:endParaRPr lang="en-US" sz="2025" dirty="0">
              <a:solidFill>
                <a:srgbClr val="0F62FE"/>
              </a:solidFill>
              <a:latin typeface="IBM Plex Sans Ligh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B64CAC0-F570-A3D5-190D-BB00870671D4}"/>
              </a:ext>
            </a:extLst>
          </p:cNvPr>
          <p:cNvSpPr txBox="1">
            <a:spLocks/>
          </p:cNvSpPr>
          <p:nvPr/>
        </p:nvSpPr>
        <p:spPr>
          <a:xfrm>
            <a:off x="2512214" y="215967"/>
            <a:ext cx="1881009" cy="745178"/>
          </a:xfrm>
          <a:prstGeom prst="rect">
            <a:avLst/>
          </a:prstGeom>
        </p:spPr>
        <p:txBody>
          <a:bodyPr lIns="91428" tIns="45714" rIns="91428" bIns="45714" anchor="t"/>
          <a:lstStyle>
            <a:lvl1pPr marL="0" marR="0" indent="0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164559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329118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493677" marR="0" indent="-164559" algn="l" defTabSz="1218956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Char char="–"/>
              <a:tabLst/>
              <a:defRPr sz="1800" b="0" i="0" u="none" strike="noStrike" cap="none" spc="0" baseline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571386" marR="0" indent="-228554" algn="l" defTabSz="1218956" rtl="0" eaLnBrk="1" latinLnBrk="0" hangingPunct="1">
              <a:lnSpc>
                <a:spcPct val="11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921346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1102595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1283843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1465091" marR="0" indent="-194466" algn="l" defTabSz="1218956" rtl="0" eaLnBrk="1" latinLnBrk="0" hangingPunct="1">
              <a:lnSpc>
                <a:spcPct val="100000"/>
              </a:lnSpc>
              <a:spcBef>
                <a:spcPts val="1450"/>
              </a:spcBef>
              <a:spcAft>
                <a:spcPts val="0"/>
              </a:spcAft>
              <a:buClrTx/>
              <a:buSzPct val="100000"/>
              <a:buFontTx/>
              <a:buChar char="»"/>
              <a:tabLst/>
              <a:defRPr sz="18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457109"/>
            <a:r>
              <a:rPr lang="en-US" sz="1350" kern="0" dirty="0">
                <a:solidFill>
                  <a:srgbClr val="0F62FE"/>
                </a:solidFill>
                <a:latin typeface="IBM Plex Sans Light"/>
              </a:rPr>
              <a:t>Conversational access to employee support and customer service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10FCAAC8-D17C-6135-BF1A-64798096A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688" y="226742"/>
            <a:ext cx="2264299" cy="361814"/>
          </a:xfrm>
        </p:spPr>
        <p:txBody>
          <a:bodyPr/>
          <a:lstStyle/>
          <a:p>
            <a:r>
              <a:rPr lang="en-US" sz="1050" b="1" dirty="0">
                <a:latin typeface="+mj-lt"/>
              </a:rPr>
              <a:t>The impact of generative AI </a:t>
            </a:r>
            <a:r>
              <a:rPr lang="en-US" sz="1050" dirty="0">
                <a:latin typeface="+mj-lt"/>
              </a:rPr>
              <a:t>| </a:t>
            </a:r>
            <a:br>
              <a:rPr lang="en-US" sz="1050" dirty="0">
                <a:latin typeface="+mj-lt"/>
              </a:rPr>
            </a:br>
            <a:r>
              <a:rPr lang="en-US" sz="1050" dirty="0">
                <a:latin typeface="+mj-lt"/>
              </a:rPr>
              <a:t>The opportunity</a:t>
            </a:r>
            <a:br>
              <a:rPr lang="en-US" sz="1050" b="1" dirty="0">
                <a:latin typeface="+mj-lt"/>
              </a:rPr>
            </a:br>
            <a:br>
              <a:rPr lang="en-US" sz="1050" dirty="0">
                <a:latin typeface="+mj-lt"/>
              </a:rPr>
            </a:br>
            <a:br>
              <a:rPr lang="en-US" sz="1050" dirty="0">
                <a:latin typeface="+mn-lt"/>
              </a:rPr>
            </a:br>
            <a:endParaRPr lang="en-US" sz="1050" dirty="0"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0FFE1C-9F19-0376-1FFD-9C5324CD2B24}"/>
              </a:ext>
            </a:extLst>
          </p:cNvPr>
          <p:cNvSpPr txBox="1"/>
          <p:nvPr/>
        </p:nvSpPr>
        <p:spPr>
          <a:xfrm>
            <a:off x="214881" y="2265383"/>
            <a:ext cx="1919328" cy="1142616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4286" tIns="17143" rIns="34286" bIns="17143" anchor="t">
            <a:spAutoFit/>
          </a:bodyPr>
          <a:lstStyle/>
          <a:p>
            <a:pPr defTabSz="914217">
              <a:defRPr/>
            </a:pPr>
            <a:r>
              <a:rPr lang="en-US" sz="2400" b="1" dirty="0">
                <a:solidFill>
                  <a:srgbClr val="0F62FE"/>
                </a:solidFill>
                <a:latin typeface="IBM Plex Sans Light"/>
              </a:rPr>
              <a:t>40%</a:t>
            </a:r>
          </a:p>
          <a:p>
            <a:pPr defTabSz="914217">
              <a:defRPr/>
            </a:pPr>
            <a:r>
              <a:rPr lang="en-US" sz="1200" dirty="0">
                <a:solidFill>
                  <a:srgbClr val="0F62FE"/>
                </a:solidFill>
                <a:latin typeface="IBM Plex Sans Light"/>
              </a:rPr>
              <a:t>performance improvement for a highly skilled worker compared with those who don't use generative AI</a:t>
            </a:r>
            <a:r>
              <a:rPr lang="en-US" sz="1200" baseline="30000" dirty="0">
                <a:solidFill>
                  <a:srgbClr val="0F62FE"/>
                </a:solidFill>
                <a:latin typeface="IBM Plex Sans Light"/>
              </a:rPr>
              <a:t>1</a:t>
            </a:r>
            <a:endParaRPr lang="en-US" sz="1200" b="1" kern="0" spc="-15" baseline="30000" dirty="0">
              <a:solidFill>
                <a:srgbClr val="0F62FE"/>
              </a:solidFill>
              <a:latin typeface="IBM Plex Sans Light"/>
              <a:ea typeface="IBM Plex Sans Light"/>
              <a:cs typeface="IBM Plex Sans Light"/>
              <a:sym typeface="IBM Plex Sans Ligh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3E3C228-0B3E-DCDD-7AE2-4D5D98E98127}"/>
              </a:ext>
            </a:extLst>
          </p:cNvPr>
          <p:cNvCxnSpPr>
            <a:cxnSpLocks/>
          </p:cNvCxnSpPr>
          <p:nvPr/>
        </p:nvCxnSpPr>
        <p:spPr bwMode="auto">
          <a:xfrm>
            <a:off x="4572000" y="287856"/>
            <a:ext cx="0" cy="435661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1C0369D-38B3-23BD-7B88-0EC84125A6F8}"/>
              </a:ext>
            </a:extLst>
          </p:cNvPr>
          <p:cNvSpPr txBox="1"/>
          <p:nvPr/>
        </p:nvSpPr>
        <p:spPr>
          <a:xfrm>
            <a:off x="214881" y="4766737"/>
            <a:ext cx="1983866" cy="20774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>
            <a:spAutoFit/>
          </a:bodyPr>
          <a:lstStyle/>
          <a:p>
            <a:pPr defTabSz="686017"/>
            <a:r>
              <a:rPr lang="en-US" sz="750" kern="0" dirty="0">
                <a:solidFill>
                  <a:sysClr val="windowText" lastClr="000000"/>
                </a:solidFill>
                <a:latin typeface="IBM Plex Sans Light"/>
                <a:cs typeface="IBM Plex Sans Light"/>
              </a:rPr>
              <a:t>Source</a:t>
            </a:r>
            <a:r>
              <a:rPr lang="en-US" sz="750" kern="0" dirty="0">
                <a:solidFill>
                  <a:srgbClr val="000000"/>
                </a:solidFill>
                <a:latin typeface="IBM Plex Sans Light"/>
                <a:cs typeface="IBM Plex Sans Light"/>
              </a:rPr>
              <a:t>: </a:t>
            </a:r>
            <a:r>
              <a:rPr lang="en-US" sz="750" kern="0" baseline="30000" dirty="0">
                <a:solidFill>
                  <a:srgbClr val="000000"/>
                </a:solidFill>
                <a:latin typeface="IBM Plex Sans Light"/>
                <a:cs typeface="IBM Plex Sans Light"/>
              </a:rPr>
              <a:t>1</a:t>
            </a:r>
            <a:r>
              <a:rPr lang="en-US" sz="750" kern="0" dirty="0">
                <a:solidFill>
                  <a:srgbClr val="000000"/>
                </a:solidFill>
                <a:latin typeface="IBM Plex Sans Light"/>
                <a:cs typeface="IBM Plex Sans Light"/>
                <a:hlinkClick r:id="rId3"/>
              </a:rPr>
              <a:t>Harvard Business School</a:t>
            </a:r>
            <a:endParaRPr lang="en-US" sz="750" dirty="0">
              <a:solidFill>
                <a:srgbClr val="000000"/>
              </a:solidFill>
              <a:latin typeface="IBM Plex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502288225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val 97">
            <a:extLst>
              <a:ext uri="{FF2B5EF4-FFF2-40B4-BE49-F238E27FC236}">
                <a16:creationId xmlns:a16="http://schemas.microsoft.com/office/drawing/2014/main" id="{A2FADBCF-8CEA-560A-DD73-F7892CEBE744}"/>
              </a:ext>
            </a:extLst>
          </p:cNvPr>
          <p:cNvSpPr/>
          <p:nvPr/>
        </p:nvSpPr>
        <p:spPr bwMode="auto">
          <a:xfrm>
            <a:off x="3291797" y="254923"/>
            <a:ext cx="4355275" cy="4355274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5E00E9-E057-341D-14A6-70D025AEDC1F}"/>
              </a:ext>
            </a:extLst>
          </p:cNvPr>
          <p:cNvSpPr txBox="1"/>
          <p:nvPr/>
        </p:nvSpPr>
        <p:spPr>
          <a:xfrm>
            <a:off x="696425" y="216334"/>
            <a:ext cx="342855" cy="342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rtlCol="0">
            <a:noAutofit/>
          </a:bodyPr>
          <a:lstStyle/>
          <a:p>
            <a:pPr marL="166674" indent="-167531" defTabSz="914400">
              <a:spcBef>
                <a:spcPts val="1088"/>
              </a:spcBef>
              <a:buSzPct val="100000"/>
              <a:buFontTx/>
              <a:buChar char="–"/>
            </a:pPr>
            <a:endParaRPr lang="en-US" kern="0" dirty="0">
              <a:solidFill>
                <a:srgbClr val="000000"/>
              </a:solidFill>
              <a:latin typeface="IBM Plex Sans Light"/>
              <a:sym typeface="IBM Plex Sans Light"/>
            </a:endParaRPr>
          </a:p>
        </p:txBody>
      </p:sp>
      <p:sp>
        <p:nvSpPr>
          <p:cNvPr id="14" name="Rectangle 13" descr="Vertical quarter slide background in blue 10">
            <a:extLst>
              <a:ext uri="{FF2B5EF4-FFF2-40B4-BE49-F238E27FC236}">
                <a16:creationId xmlns:a16="http://schemas.microsoft.com/office/drawing/2014/main" id="{7750312E-9DBF-9131-3217-011D75A78B02}"/>
              </a:ext>
            </a:extLst>
          </p:cNvPr>
          <p:cNvSpPr/>
          <p:nvPr/>
        </p:nvSpPr>
        <p:spPr bwMode="auto">
          <a:xfrm>
            <a:off x="5" y="1005"/>
            <a:ext cx="2285404" cy="514216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1" tIns="34281" rIns="34281" bIns="34281" numCol="1" rtlCol="0" anchor="t" anchorCtr="0" compatLnSpc="1">
            <a:prstTxWarp prst="textNoShape">
              <a:avLst/>
            </a:prstTxWarp>
          </a:bodyPr>
          <a:lstStyle/>
          <a:p>
            <a:pPr defTabSz="34290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525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986E4E5-2F67-2495-967A-3F6B44C468D4}"/>
              </a:ext>
            </a:extLst>
          </p:cNvPr>
          <p:cNvSpPr txBox="1"/>
          <p:nvPr/>
        </p:nvSpPr>
        <p:spPr>
          <a:xfrm>
            <a:off x="3426394" y="3808738"/>
            <a:ext cx="1219453" cy="492346"/>
          </a:xfrm>
          <a:prstGeom prst="rect">
            <a:avLst/>
          </a:prstGeom>
          <a:solidFill>
            <a:schemeClr val="bg1"/>
          </a:solidFill>
        </p:spPr>
        <p:txBody>
          <a:bodyPr wrap="square" lIns="91392" tIns="91392" rIns="91392" bIns="91392" rtlCol="0">
            <a:spAutoFit/>
          </a:bodyPr>
          <a:lstStyle/>
          <a:p>
            <a:pPr algn="ctr" defTabSz="685692">
              <a:spcBef>
                <a:spcPts val="1100"/>
              </a:spcBef>
              <a:defRPr/>
            </a:pP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Customer Care</a:t>
            </a:r>
            <a:b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</a:b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Digital Labor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10B1F55E-5977-FE71-DA41-7970B6573B32}"/>
              </a:ext>
            </a:extLst>
          </p:cNvPr>
          <p:cNvSpPr txBox="1">
            <a:spLocks/>
          </p:cNvSpPr>
          <p:nvPr/>
        </p:nvSpPr>
        <p:spPr>
          <a:xfrm>
            <a:off x="3542165" y="2343906"/>
            <a:ext cx="989430" cy="3281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 defTabSz="913862">
              <a:lnSpc>
                <a:spcPct val="100000"/>
              </a:lnSpc>
              <a:defRPr/>
            </a:pP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Molecular</a:t>
            </a:r>
            <a:b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</a:b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data</a:t>
            </a: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5C53F4EE-DBA9-7597-9B5B-6B582E9408EA}"/>
              </a:ext>
            </a:extLst>
          </p:cNvPr>
          <p:cNvSpPr txBox="1">
            <a:spLocks/>
          </p:cNvSpPr>
          <p:nvPr/>
        </p:nvSpPr>
        <p:spPr>
          <a:xfrm rot="10800000" flipV="1">
            <a:off x="4019114" y="1857444"/>
            <a:ext cx="499289" cy="1794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 defTabSz="913862">
              <a:lnSpc>
                <a:spcPct val="100000"/>
              </a:lnSpc>
              <a:defRPr/>
            </a:pP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IT</a:t>
            </a:r>
            <a:b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</a:b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data</a:t>
            </a: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69E0B033-5DD5-BC2E-5FF2-3E4C4004CE09}"/>
              </a:ext>
            </a:extLst>
          </p:cNvPr>
          <p:cNvSpPr txBox="1">
            <a:spLocks/>
          </p:cNvSpPr>
          <p:nvPr/>
        </p:nvSpPr>
        <p:spPr>
          <a:xfrm flipH="1">
            <a:off x="4404163" y="1213351"/>
            <a:ext cx="723328" cy="2012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 defTabSz="913862">
              <a:lnSpc>
                <a:spcPct val="100000"/>
              </a:lnSpc>
              <a:defRPr/>
            </a:pP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Sensor/</a:t>
            </a:r>
            <a:b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</a:b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IoT data</a:t>
            </a:r>
          </a:p>
        </p:txBody>
      </p:sp>
      <p:sp>
        <p:nvSpPr>
          <p:cNvPr id="77" name="Title 1">
            <a:extLst>
              <a:ext uri="{FF2B5EF4-FFF2-40B4-BE49-F238E27FC236}">
                <a16:creationId xmlns:a16="http://schemas.microsoft.com/office/drawing/2014/main" id="{09E1C49F-8650-0E42-BAFA-9BC0A016FB9D}"/>
              </a:ext>
            </a:extLst>
          </p:cNvPr>
          <p:cNvSpPr txBox="1">
            <a:spLocks/>
          </p:cNvSpPr>
          <p:nvPr/>
        </p:nvSpPr>
        <p:spPr>
          <a:xfrm>
            <a:off x="5962313" y="1188897"/>
            <a:ext cx="819142" cy="2555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 defTabSz="913862">
              <a:lnSpc>
                <a:spcPct val="100000"/>
              </a:lnSpc>
              <a:defRPr/>
            </a:pP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Business process data</a:t>
            </a:r>
          </a:p>
        </p:txBody>
      </p:sp>
      <p:sp>
        <p:nvSpPr>
          <p:cNvPr id="78" name="Title 1">
            <a:extLst>
              <a:ext uri="{FF2B5EF4-FFF2-40B4-BE49-F238E27FC236}">
                <a16:creationId xmlns:a16="http://schemas.microsoft.com/office/drawing/2014/main" id="{5EBEC120-EDF2-CAF2-D516-15F247017409}"/>
              </a:ext>
            </a:extLst>
          </p:cNvPr>
          <p:cNvSpPr txBox="1">
            <a:spLocks/>
          </p:cNvSpPr>
          <p:nvPr/>
        </p:nvSpPr>
        <p:spPr>
          <a:xfrm>
            <a:off x="6447734" y="1829073"/>
            <a:ext cx="877524" cy="2555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 defTabSz="913862">
              <a:lnSpc>
                <a:spcPct val="100000"/>
              </a:lnSpc>
              <a:defRPr/>
            </a:pP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Cybersecurity data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59DCE168-94EC-28DF-D5EA-CA97E9469508}"/>
              </a:ext>
            </a:extLst>
          </p:cNvPr>
          <p:cNvSpPr txBox="1">
            <a:spLocks/>
          </p:cNvSpPr>
          <p:nvPr/>
        </p:nvSpPr>
        <p:spPr>
          <a:xfrm rot="10800000" flipV="1">
            <a:off x="6626292" y="2387783"/>
            <a:ext cx="670455" cy="2851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 defTabSz="913862">
              <a:lnSpc>
                <a:spcPct val="100000"/>
              </a:lnSpc>
              <a:defRPr/>
            </a:pP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Geospatial data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0EC167EA-F54B-B620-B351-49F359597BE5}"/>
              </a:ext>
            </a:extLst>
          </p:cNvPr>
          <p:cNvSpPr/>
          <p:nvPr/>
        </p:nvSpPr>
        <p:spPr bwMode="auto">
          <a:xfrm>
            <a:off x="4585378" y="1528671"/>
            <a:ext cx="1792676" cy="1792676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36AD3160-44A4-EA5B-0E68-3E40E563864C}"/>
              </a:ext>
            </a:extLst>
          </p:cNvPr>
          <p:cNvSpPr>
            <a:spLocks noChangeAspect="1"/>
          </p:cNvSpPr>
          <p:nvPr/>
        </p:nvSpPr>
        <p:spPr bwMode="auto">
          <a:xfrm>
            <a:off x="4791326" y="3001297"/>
            <a:ext cx="342855" cy="34285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2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907432BF-9B00-4AFA-85E2-B8048862A728}"/>
              </a:ext>
            </a:extLst>
          </p:cNvPr>
          <p:cNvSpPr>
            <a:spLocks noChangeAspect="1"/>
          </p:cNvSpPr>
          <p:nvPr/>
        </p:nvSpPr>
        <p:spPr bwMode="auto">
          <a:xfrm>
            <a:off x="4434814" y="2346108"/>
            <a:ext cx="342855" cy="34285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9DC4303-6A1F-368A-0668-AC9EE7F9F68C}"/>
              </a:ext>
            </a:extLst>
          </p:cNvPr>
          <p:cNvSpPr>
            <a:spLocks noChangeAspect="1"/>
          </p:cNvSpPr>
          <p:nvPr/>
        </p:nvSpPr>
        <p:spPr bwMode="auto">
          <a:xfrm>
            <a:off x="4574766" y="1776815"/>
            <a:ext cx="342855" cy="34285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2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F1AE1557-BD4B-0C69-D57C-068E5ED8B16D}"/>
              </a:ext>
            </a:extLst>
          </p:cNvPr>
          <p:cNvSpPr>
            <a:spLocks noChangeAspect="1"/>
          </p:cNvSpPr>
          <p:nvPr/>
        </p:nvSpPr>
        <p:spPr bwMode="auto">
          <a:xfrm>
            <a:off x="5020890" y="1391907"/>
            <a:ext cx="342855" cy="34285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3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56E1A8F-8A88-3DA0-C965-27F640C119E1}"/>
              </a:ext>
            </a:extLst>
          </p:cNvPr>
          <p:cNvSpPr>
            <a:spLocks noChangeAspect="1"/>
          </p:cNvSpPr>
          <p:nvPr/>
        </p:nvSpPr>
        <p:spPr bwMode="auto">
          <a:xfrm>
            <a:off x="5579664" y="1393215"/>
            <a:ext cx="342855" cy="34285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57C4AEF-9286-6DCD-5010-826C53158A70}"/>
              </a:ext>
            </a:extLst>
          </p:cNvPr>
          <p:cNvSpPr>
            <a:spLocks noChangeAspect="1"/>
          </p:cNvSpPr>
          <p:nvPr/>
        </p:nvSpPr>
        <p:spPr bwMode="auto">
          <a:xfrm>
            <a:off x="6052776" y="1791722"/>
            <a:ext cx="342855" cy="34285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5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5294A4C-8AFF-4D0A-3614-D6A20BC26A51}"/>
              </a:ext>
            </a:extLst>
          </p:cNvPr>
          <p:cNvSpPr>
            <a:spLocks noChangeAspect="1"/>
          </p:cNvSpPr>
          <p:nvPr/>
        </p:nvSpPr>
        <p:spPr bwMode="auto">
          <a:xfrm>
            <a:off x="6195429" y="2343906"/>
            <a:ext cx="342855" cy="34285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6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72" name="Title 1">
            <a:extLst>
              <a:ext uri="{FF2B5EF4-FFF2-40B4-BE49-F238E27FC236}">
                <a16:creationId xmlns:a16="http://schemas.microsoft.com/office/drawing/2014/main" id="{2D587DE2-345F-4FA5-3034-18AA4CCB88BB}"/>
              </a:ext>
            </a:extLst>
          </p:cNvPr>
          <p:cNvSpPr txBox="1">
            <a:spLocks/>
          </p:cNvSpPr>
          <p:nvPr/>
        </p:nvSpPr>
        <p:spPr>
          <a:xfrm>
            <a:off x="4278152" y="3393615"/>
            <a:ext cx="588374" cy="1967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 defTabSz="913862">
              <a:lnSpc>
                <a:spcPct val="100000"/>
              </a:lnSpc>
              <a:defRPr/>
            </a:pP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Natural languag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36CCCA0-13CF-6121-E9A6-4931F975B1BA}"/>
              </a:ext>
            </a:extLst>
          </p:cNvPr>
          <p:cNvSpPr txBox="1"/>
          <p:nvPr/>
        </p:nvSpPr>
        <p:spPr>
          <a:xfrm>
            <a:off x="4957136" y="2258831"/>
            <a:ext cx="1058338" cy="454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noAutofit/>
          </a:bodyPr>
          <a:lstStyle/>
          <a:p>
            <a:pPr algn="ctr" defTabSz="914400">
              <a:buSzPct val="100000"/>
            </a:pPr>
            <a:r>
              <a:rPr lang="en-US" kern="0" dirty="0">
                <a:solidFill>
                  <a:srgbClr val="000000"/>
                </a:solidFill>
                <a:latin typeface="IBM Plex Sans Light"/>
                <a:cs typeface="Helvetica"/>
              </a:rPr>
              <a:t>Foundation</a:t>
            </a:r>
            <a:br>
              <a:rPr lang="en-US" kern="0" dirty="0">
                <a:solidFill>
                  <a:srgbClr val="000000"/>
                </a:solidFill>
                <a:latin typeface="IBM Plex Sans Light"/>
                <a:cs typeface="Helvetica"/>
              </a:rPr>
            </a:br>
            <a:r>
              <a:rPr lang="en-US" kern="0" dirty="0">
                <a:solidFill>
                  <a:srgbClr val="000000"/>
                </a:solidFill>
                <a:latin typeface="IBM Plex Sans Light"/>
                <a:cs typeface="Helvetica"/>
              </a:rPr>
              <a:t>models</a:t>
            </a:r>
          </a:p>
          <a:p>
            <a:pPr algn="ctr" defTabSz="914400">
              <a:buSzPct val="100000"/>
            </a:pPr>
            <a:endParaRPr lang="en-US" dirty="0">
              <a:solidFill>
                <a:srgbClr val="000000"/>
              </a:solidFill>
              <a:latin typeface="IBM Plex Sans Light"/>
              <a:cs typeface="Arial" panose="020B060402020202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271F132-50B4-5D97-3C4F-1203CB2934FB}"/>
              </a:ext>
            </a:extLst>
          </p:cNvPr>
          <p:cNvSpPr txBox="1"/>
          <p:nvPr/>
        </p:nvSpPr>
        <p:spPr>
          <a:xfrm>
            <a:off x="2782152" y="1706861"/>
            <a:ext cx="1193661" cy="492346"/>
          </a:xfrm>
          <a:prstGeom prst="rect">
            <a:avLst/>
          </a:prstGeom>
          <a:solidFill>
            <a:schemeClr val="bg1"/>
          </a:solidFill>
        </p:spPr>
        <p:txBody>
          <a:bodyPr wrap="square" lIns="91392" tIns="91392" rIns="91392" bIns="91392" rtlCol="0">
            <a:spAutoFit/>
          </a:bodyPr>
          <a:lstStyle/>
          <a:p>
            <a:pPr algn="ctr" defTabSz="685692">
              <a:spcBef>
                <a:spcPts val="1100"/>
              </a:spcBef>
              <a:defRPr/>
            </a:pP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IT Ops &amp; </a:t>
            </a:r>
            <a:b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</a:b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IT Automatio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504429A-2028-E56D-2A37-A7E43FA72707}"/>
              </a:ext>
            </a:extLst>
          </p:cNvPr>
          <p:cNvSpPr txBox="1"/>
          <p:nvPr/>
        </p:nvSpPr>
        <p:spPr>
          <a:xfrm>
            <a:off x="3348224" y="932954"/>
            <a:ext cx="1054800" cy="492346"/>
          </a:xfrm>
          <a:prstGeom prst="rect">
            <a:avLst/>
          </a:prstGeom>
          <a:solidFill>
            <a:schemeClr val="bg1"/>
          </a:solidFill>
        </p:spPr>
        <p:txBody>
          <a:bodyPr wrap="square" lIns="91392" tIns="91392" rIns="91392" bIns="91392" rtlCol="0">
            <a:spAutoFit/>
          </a:bodyPr>
          <a:lstStyle/>
          <a:p>
            <a:pPr algn="ctr" defTabSz="685692">
              <a:spcBef>
                <a:spcPts val="1100"/>
              </a:spcBef>
              <a:defRPr/>
            </a:pP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Physical Asset</a:t>
            </a:r>
            <a:b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</a:b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Managemen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F115559-173B-1D25-AA34-31A2D609DAA2}"/>
              </a:ext>
            </a:extLst>
          </p:cNvPr>
          <p:cNvSpPr txBox="1"/>
          <p:nvPr/>
        </p:nvSpPr>
        <p:spPr>
          <a:xfrm>
            <a:off x="6906809" y="919848"/>
            <a:ext cx="988291" cy="492346"/>
          </a:xfrm>
          <a:prstGeom prst="rect">
            <a:avLst/>
          </a:prstGeom>
          <a:solidFill>
            <a:schemeClr val="bg1"/>
          </a:solidFill>
        </p:spPr>
        <p:txBody>
          <a:bodyPr wrap="square" lIns="91392" tIns="91392" rIns="91392" bIns="91392" rtlCol="0">
            <a:spAutoFit/>
          </a:bodyPr>
          <a:lstStyle/>
          <a:p>
            <a:pPr algn="ctr" defTabSz="685692">
              <a:spcBef>
                <a:spcPts val="1100"/>
              </a:spcBef>
              <a:defRPr/>
            </a:pP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Business Automation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679FEF7-F2DD-8B18-8BC0-7AC14ACEF893}"/>
              </a:ext>
            </a:extLst>
          </p:cNvPr>
          <p:cNvSpPr txBox="1"/>
          <p:nvPr/>
        </p:nvSpPr>
        <p:spPr>
          <a:xfrm>
            <a:off x="7325258" y="1712147"/>
            <a:ext cx="1193661" cy="492346"/>
          </a:xfrm>
          <a:prstGeom prst="rect">
            <a:avLst/>
          </a:prstGeom>
          <a:solidFill>
            <a:schemeClr val="bg1"/>
          </a:solidFill>
        </p:spPr>
        <p:txBody>
          <a:bodyPr wrap="square" lIns="91392" tIns="91392" rIns="91392" bIns="91392" rtlCol="0">
            <a:spAutoFit/>
          </a:bodyPr>
          <a:lstStyle/>
          <a:p>
            <a:pPr algn="ctr" defTabSz="685692">
              <a:spcBef>
                <a:spcPts val="1100"/>
              </a:spcBef>
              <a:defRPr/>
            </a:pP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Threat Managemen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9904CA3-F200-8AA3-AC8F-0810D7CA2594}"/>
              </a:ext>
            </a:extLst>
          </p:cNvPr>
          <p:cNvSpPr txBox="1"/>
          <p:nvPr/>
        </p:nvSpPr>
        <p:spPr>
          <a:xfrm>
            <a:off x="7430212" y="2345403"/>
            <a:ext cx="1101294" cy="338457"/>
          </a:xfrm>
          <a:prstGeom prst="rect">
            <a:avLst/>
          </a:prstGeom>
          <a:solidFill>
            <a:schemeClr val="bg1"/>
          </a:solidFill>
        </p:spPr>
        <p:txBody>
          <a:bodyPr wrap="square" lIns="91392" tIns="91392" rIns="91392" bIns="91392" rtlCol="0">
            <a:spAutoFit/>
          </a:bodyPr>
          <a:lstStyle/>
          <a:p>
            <a:pPr algn="ctr" defTabSz="685692">
              <a:spcBef>
                <a:spcPts val="1100"/>
              </a:spcBef>
              <a:defRPr/>
            </a:pP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Sustainability</a:t>
            </a:r>
          </a:p>
        </p:txBody>
      </p:sp>
      <p:pic>
        <p:nvPicPr>
          <p:cNvPr id="105" name="Graphic 104">
            <a:extLst>
              <a:ext uri="{FF2B5EF4-FFF2-40B4-BE49-F238E27FC236}">
                <a16:creationId xmlns:a16="http://schemas.microsoft.com/office/drawing/2014/main" id="{88494138-378E-AC4E-CEC0-E045EE65DA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13557" y="1866502"/>
            <a:ext cx="221293" cy="221293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711607F0-9AB1-9994-8FB9-FEFD73ED63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51099" y="3057173"/>
            <a:ext cx="222856" cy="222856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A183F2A4-3E44-187A-6921-FC15603D82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87969" y="2404011"/>
            <a:ext cx="222856" cy="222856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6FED6EFB-0CB3-AAC2-67C2-2EC06DF6B6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36420" y="1836815"/>
            <a:ext cx="222856" cy="222856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74FA817A-0CCE-B6C9-6AAE-C643FBB0F8A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78390" y="1451907"/>
            <a:ext cx="222856" cy="222856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A80BEC2C-AE3F-8566-4303-D41FDE28DCC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257215" y="2402711"/>
            <a:ext cx="222856" cy="222856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2723BA22-877D-B1B5-BAAD-3CCF0376950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42363" y="1451907"/>
            <a:ext cx="222856" cy="222856"/>
          </a:xfrm>
          <a:prstGeom prst="rect">
            <a:avLst/>
          </a:prstGeom>
        </p:spPr>
      </p:pic>
      <p:sp>
        <p:nvSpPr>
          <p:cNvPr id="68" name="Oval 67">
            <a:extLst>
              <a:ext uri="{FF2B5EF4-FFF2-40B4-BE49-F238E27FC236}">
                <a16:creationId xmlns:a16="http://schemas.microsoft.com/office/drawing/2014/main" id="{B41B8375-E487-F438-7129-71B8BEC6014E}"/>
              </a:ext>
            </a:extLst>
          </p:cNvPr>
          <p:cNvSpPr>
            <a:spLocks noChangeAspect="1"/>
          </p:cNvSpPr>
          <p:nvPr/>
        </p:nvSpPr>
        <p:spPr bwMode="auto">
          <a:xfrm>
            <a:off x="5753791" y="3008742"/>
            <a:ext cx="342855" cy="34285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6" tIns="34286" rIns="34286" bIns="34286" numCol="1" rtlCol="0" anchor="t" anchorCtr="0" compatLnSpc="1">
            <a:prstTxWarp prst="textNoShape">
              <a:avLst/>
            </a:prstTxWarp>
          </a:bodyPr>
          <a:lstStyle/>
          <a:p>
            <a:pPr marL="122850" indent="-122850" defTabSz="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750" dirty="0">
              <a:solidFill>
                <a:srgbClr val="FFFFFF"/>
              </a:solidFill>
              <a:latin typeface="IBM Plex Sans Light"/>
            </a:endParaRPr>
          </a:p>
        </p:txBody>
      </p:sp>
      <p:pic>
        <p:nvPicPr>
          <p:cNvPr id="121" name="Graphic 120">
            <a:extLst>
              <a:ext uri="{FF2B5EF4-FFF2-40B4-BE49-F238E27FC236}">
                <a16:creationId xmlns:a16="http://schemas.microsoft.com/office/drawing/2014/main" id="{5B256499-BF12-ECF9-72C1-D34EFDEE991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13791" y="3066398"/>
            <a:ext cx="222856" cy="222856"/>
          </a:xfrm>
          <a:prstGeom prst="rect">
            <a:avLst/>
          </a:prstGeom>
        </p:spPr>
      </p:pic>
      <p:sp>
        <p:nvSpPr>
          <p:cNvPr id="80" name="Title 1">
            <a:extLst>
              <a:ext uri="{FF2B5EF4-FFF2-40B4-BE49-F238E27FC236}">
                <a16:creationId xmlns:a16="http://schemas.microsoft.com/office/drawing/2014/main" id="{99C74C9D-C0C8-8BF7-55ED-9502CFE46EE7}"/>
              </a:ext>
            </a:extLst>
          </p:cNvPr>
          <p:cNvSpPr txBox="1">
            <a:spLocks/>
          </p:cNvSpPr>
          <p:nvPr/>
        </p:nvSpPr>
        <p:spPr>
          <a:xfrm>
            <a:off x="5955736" y="3384758"/>
            <a:ext cx="527633" cy="1825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/>
          <a:lstStyle>
            <a:lvl1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ExtLt" panose="020B03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algn="ctr" defTabSz="913862">
              <a:lnSpc>
                <a:spcPct val="100000"/>
              </a:lnSpc>
              <a:defRPr/>
            </a:pPr>
            <a:r>
              <a:rPr lang="en-US" sz="1050" kern="0" dirty="0">
                <a:solidFill>
                  <a:srgbClr val="161616"/>
                </a:solidFill>
                <a:latin typeface="IBM Plex Sans Light"/>
                <a:cs typeface="Helvetica"/>
              </a:rPr>
              <a:t>Cod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30C56CD-5F8B-2D68-77C8-3DF14ADB5CAA}"/>
              </a:ext>
            </a:extLst>
          </p:cNvPr>
          <p:cNvSpPr txBox="1"/>
          <p:nvPr/>
        </p:nvSpPr>
        <p:spPr>
          <a:xfrm>
            <a:off x="6394742" y="3655523"/>
            <a:ext cx="1193661" cy="646234"/>
          </a:xfrm>
          <a:prstGeom prst="rect">
            <a:avLst/>
          </a:prstGeom>
          <a:solidFill>
            <a:schemeClr val="bg1"/>
          </a:solidFill>
        </p:spPr>
        <p:txBody>
          <a:bodyPr wrap="square" lIns="91392" tIns="91392" rIns="91392" bIns="91392" rtlCol="0">
            <a:spAutoFit/>
          </a:bodyPr>
          <a:lstStyle/>
          <a:p>
            <a:pPr algn="ctr" defTabSz="685692">
              <a:spcBef>
                <a:spcPts val="1100"/>
              </a:spcBef>
              <a:defRPr/>
            </a:pP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App Modernization</a:t>
            </a:r>
            <a:b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</a:br>
            <a:r>
              <a:rPr lang="en-US" sz="1000" b="1" dirty="0">
                <a:solidFill>
                  <a:srgbClr val="0F62FE"/>
                </a:solidFill>
                <a:latin typeface="IBM Plex Sans Light" panose="020B0403050203000203" pitchFamily="34" charset="0"/>
                <a:ea typeface="IBM Plex Sans" charset="0"/>
                <a:cs typeface="IBM Plex Sans" charset="0"/>
              </a:rPr>
              <a:t>IT Automation</a:t>
            </a:r>
          </a:p>
        </p:txBody>
      </p:sp>
      <p:sp>
        <p:nvSpPr>
          <p:cNvPr id="142" name="Title 2">
            <a:extLst>
              <a:ext uri="{FF2B5EF4-FFF2-40B4-BE49-F238E27FC236}">
                <a16:creationId xmlns:a16="http://schemas.microsoft.com/office/drawing/2014/main" id="{7D25AEDE-9963-1CC0-5F0A-BB29AF248088}"/>
              </a:ext>
            </a:extLst>
          </p:cNvPr>
          <p:cNvSpPr txBox="1">
            <a:spLocks/>
          </p:cNvSpPr>
          <p:nvPr/>
        </p:nvSpPr>
        <p:spPr>
          <a:xfrm>
            <a:off x="216568" y="1268742"/>
            <a:ext cx="1854156" cy="20630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0" marR="0" indent="0" algn="l" defTabSz="121897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cap="none" spc="0" baseline="0">
                <a:solidFill>
                  <a:schemeClr val="tx2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1pPr>
            <a:lvl2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181250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362501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543751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725002" algn="l" defTabSz="12189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685754">
              <a:defRPr/>
            </a:pPr>
            <a:r>
              <a:rPr lang="en-US" sz="1650" dirty="0">
                <a:solidFill>
                  <a:srgbClr val="000000"/>
                </a:solidFill>
                <a:latin typeface="IBM Plex Sans Light"/>
              </a:rPr>
              <a:t>Opportunity to unlock business advantage with foundation </a:t>
            </a:r>
            <a:br>
              <a:rPr lang="en-US" sz="1650" dirty="0">
                <a:solidFill>
                  <a:srgbClr val="000000"/>
                </a:solidFill>
                <a:latin typeface="IBM Plex Sans Light"/>
              </a:rPr>
            </a:br>
            <a:r>
              <a:rPr lang="en-US" sz="1650" dirty="0">
                <a:solidFill>
                  <a:srgbClr val="000000"/>
                </a:solidFill>
                <a:latin typeface="IBM Plex Sans Light"/>
              </a:rPr>
              <a:t>models trained </a:t>
            </a:r>
            <a:br>
              <a:rPr lang="en-US" sz="1650" dirty="0">
                <a:solidFill>
                  <a:srgbClr val="000000"/>
                </a:solidFill>
                <a:latin typeface="IBM Plex Sans Light"/>
              </a:rPr>
            </a:br>
            <a:r>
              <a:rPr lang="en-US" sz="1650" dirty="0">
                <a:solidFill>
                  <a:srgbClr val="000000"/>
                </a:solidFill>
                <a:latin typeface="IBM Plex Sans Light"/>
              </a:rPr>
              <a:t>across the breadth </a:t>
            </a:r>
            <a:br>
              <a:rPr lang="en-US" sz="1650" dirty="0">
                <a:solidFill>
                  <a:srgbClr val="000000"/>
                </a:solidFill>
                <a:latin typeface="IBM Plex Sans Light"/>
              </a:rPr>
            </a:br>
            <a:r>
              <a:rPr lang="en-US" sz="1650" dirty="0">
                <a:solidFill>
                  <a:srgbClr val="000000"/>
                </a:solidFill>
                <a:latin typeface="IBM Plex Sans Light"/>
              </a:rPr>
              <a:t>of enterprise data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9DC0C795-B262-8FD6-EB2E-BC35232D7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99" y="217001"/>
            <a:ext cx="3796746" cy="361814"/>
          </a:xfrm>
        </p:spPr>
        <p:txBody>
          <a:bodyPr/>
          <a:lstStyle/>
          <a:p>
            <a:r>
              <a:rPr lang="en-US" sz="1050" b="1" dirty="0">
                <a:latin typeface="+mj-lt"/>
              </a:rPr>
              <a:t>The impact of generative AI </a:t>
            </a:r>
            <a:r>
              <a:rPr lang="en-US" sz="1050" dirty="0">
                <a:latin typeface="+mj-lt"/>
              </a:rPr>
              <a:t>| </a:t>
            </a:r>
            <a:br>
              <a:rPr lang="en-US" sz="1050" dirty="0">
                <a:latin typeface="+mj-lt"/>
              </a:rPr>
            </a:br>
            <a:r>
              <a:rPr lang="en-US" sz="1050" dirty="0">
                <a:latin typeface="+mj-lt"/>
              </a:rPr>
              <a:t>The opportunity</a:t>
            </a:r>
            <a:br>
              <a:rPr lang="en-US" sz="1050" b="1" dirty="0">
                <a:latin typeface="+mj-lt"/>
              </a:rPr>
            </a:br>
            <a:br>
              <a:rPr lang="en-US" sz="1050" dirty="0">
                <a:latin typeface="+mj-lt"/>
              </a:rPr>
            </a:br>
            <a:br>
              <a:rPr lang="en-US" sz="1050" dirty="0">
                <a:latin typeface="+mn-lt"/>
              </a:rPr>
            </a:br>
            <a:endParaRPr lang="en-US" sz="10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89071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02CD014-E353-EC51-1BFF-F51C4C9E90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6" y="152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02CD014-E353-EC51-1BFF-F51C4C9E9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86" y="1526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1EA05A8A-AA4D-C4E1-C775-36B0162D152F}"/>
              </a:ext>
            </a:extLst>
          </p:cNvPr>
          <p:cNvSpPr/>
          <p:nvPr/>
        </p:nvSpPr>
        <p:spPr bwMode="auto">
          <a:xfrm>
            <a:off x="4572893" y="1526"/>
            <a:ext cx="4571107" cy="5142830"/>
          </a:xfrm>
          <a:prstGeom prst="rect">
            <a:avLst/>
          </a:prstGeom>
          <a:solidFill>
            <a:srgbClr val="E5F6FF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34281" tIns="34281" rIns="34281" bIns="34281" numCol="1" rtlCol="0" anchor="t" anchorCtr="0" compatLnSpc="1">
            <a:prstTxWarp prst="textNoShape">
              <a:avLst/>
            </a:prstTxWarp>
          </a:bodyPr>
          <a:lstStyle/>
          <a:p>
            <a:pPr defTabSz="34283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525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27B2D2-57C0-D7D2-6061-B22D6891C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432" y="923054"/>
            <a:ext cx="4139860" cy="620150"/>
          </a:xfrm>
        </p:spPr>
        <p:txBody>
          <a:bodyPr vert="horz" lIns="0" tIns="0" rIns="0" bIns="0" anchor="t"/>
          <a:lstStyle/>
          <a:p>
            <a:pPr defTabSz="457114">
              <a:lnSpc>
                <a:spcPct val="90000"/>
              </a:lnSpc>
            </a:pPr>
            <a:r>
              <a:rPr lang="en-US" sz="1800" dirty="0">
                <a:solidFill>
                  <a:schemeClr val="tx1"/>
                </a:solidFill>
                <a:latin typeface="+mj-lt"/>
              </a:rPr>
              <a:t>However, the following barriers prevent organizations from benefiting from AI</a:t>
            </a:r>
            <a:br>
              <a:rPr lang="en-US" sz="1800" dirty="0">
                <a:solidFill>
                  <a:schemeClr val="accent1"/>
                </a:solidFill>
                <a:latin typeface="+mj-lt"/>
              </a:rPr>
            </a:br>
            <a:br>
              <a:rPr lang="en-US" sz="3224" kern="1200" dirty="0">
                <a:solidFill>
                  <a:srgbClr val="262626"/>
                </a:solidFill>
                <a:latin typeface="IBM Plex Sans" panose="020B0503050203000203" pitchFamily="34" charset="0"/>
              </a:rPr>
            </a:br>
            <a:endParaRPr lang="en-US" sz="3224" kern="1200" dirty="0">
              <a:solidFill>
                <a:srgbClr val="262626"/>
              </a:solidFill>
              <a:latin typeface="IBM Plex Sans" panose="020B0503050203000203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AD4B5F6-1C51-4EF3-1881-1561F75D9459}"/>
              </a:ext>
            </a:extLst>
          </p:cNvPr>
          <p:cNvSpPr txBox="1">
            <a:spLocks/>
          </p:cNvSpPr>
          <p:nvPr/>
        </p:nvSpPr>
        <p:spPr>
          <a:xfrm>
            <a:off x="5583685" y="923054"/>
            <a:ext cx="3339242" cy="41090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lIns="0" tIns="0" rIns="0" bIns="0" anchor="t"/>
          <a:lstStyle>
            <a:lvl1pPr marL="0" marR="0" indent="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Light" panose="020B04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457114">
              <a:lnSpc>
                <a:spcPct val="90000"/>
              </a:lnSpc>
              <a:defRPr/>
            </a:pPr>
            <a:r>
              <a:rPr lang="en-US" sz="1650" kern="0" dirty="0">
                <a:solidFill>
                  <a:srgbClr val="000000"/>
                </a:solidFill>
                <a:latin typeface="IBM Plex Sans Light"/>
              </a:rPr>
              <a:t>Integration and scaling challenges</a:t>
            </a: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r>
              <a:rPr lang="en-US" sz="1650" kern="0" dirty="0">
                <a:solidFill>
                  <a:srgbClr val="000000"/>
                </a:solidFill>
                <a:latin typeface="IBM Plex Sans Light"/>
              </a:rPr>
              <a:t>AI governance</a:t>
            </a: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r>
              <a:rPr lang="en-US" sz="1650" kern="0" dirty="0">
                <a:solidFill>
                  <a:srgbClr val="000000"/>
                </a:solidFill>
                <a:latin typeface="IBM Plex Sans Light"/>
              </a:rPr>
              <a:t>Data complexity</a:t>
            </a: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r>
              <a:rPr lang="en-US" sz="1650" kern="0" dirty="0">
                <a:solidFill>
                  <a:srgbClr val="000000"/>
                </a:solidFill>
                <a:latin typeface="IBM Plex Sans Light"/>
              </a:rPr>
              <a:t>High price</a:t>
            </a: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r>
              <a:rPr lang="en-US" sz="1650" kern="0" dirty="0">
                <a:solidFill>
                  <a:srgbClr val="000000"/>
                </a:solidFill>
                <a:latin typeface="IBM Plex Sans Light"/>
              </a:rPr>
              <a:t>Limited skill and expertise</a:t>
            </a: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endParaRPr lang="en-US" sz="1650" kern="0" dirty="0">
              <a:solidFill>
                <a:srgbClr val="000000"/>
              </a:solidFill>
              <a:latin typeface="IBM Plex Sans Light"/>
            </a:endParaRPr>
          </a:p>
          <a:p>
            <a:pPr defTabSz="457114">
              <a:lnSpc>
                <a:spcPct val="90000"/>
              </a:lnSpc>
              <a:defRPr/>
            </a:pPr>
            <a:r>
              <a:rPr lang="en-US" sz="1650" kern="0" dirty="0">
                <a:solidFill>
                  <a:srgbClr val="000000"/>
                </a:solidFill>
                <a:latin typeface="IBM Plex Sans Light"/>
              </a:rPr>
              <a:t>Lack of AI model development tools</a:t>
            </a:r>
            <a:br>
              <a:rPr lang="en-US" sz="1650" kern="0" dirty="0">
                <a:solidFill>
                  <a:srgbClr val="000000"/>
                </a:solidFill>
                <a:latin typeface="IBM Plex Sans Light"/>
              </a:rPr>
            </a:br>
            <a:br>
              <a:rPr lang="en-US" sz="1650" kern="0" dirty="0">
                <a:solidFill>
                  <a:srgbClr val="0F62FE"/>
                </a:solidFill>
                <a:latin typeface="IBM Plex Sans Light"/>
              </a:rPr>
            </a:br>
            <a:br>
              <a:rPr lang="en-US" sz="1650" dirty="0">
                <a:solidFill>
                  <a:srgbClr val="262626"/>
                </a:solidFill>
                <a:latin typeface="IBM Plex Sans Light"/>
              </a:rPr>
            </a:br>
            <a:endParaRPr lang="en-US" sz="1650" dirty="0">
              <a:solidFill>
                <a:srgbClr val="262626"/>
              </a:solidFill>
              <a:latin typeface="IBM Plex Sans Light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C586918-B4B3-1C5C-71BE-826FD13D7D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32981" y="3564429"/>
            <a:ext cx="458755" cy="455997"/>
          </a:xfrm>
          <a:prstGeom prst="rect">
            <a:avLst/>
          </a:prstGeom>
        </p:spPr>
      </p:pic>
      <p:sp>
        <p:nvSpPr>
          <p:cNvPr id="7" name="Title 4">
            <a:extLst>
              <a:ext uri="{FF2B5EF4-FFF2-40B4-BE49-F238E27FC236}">
                <a16:creationId xmlns:a16="http://schemas.microsoft.com/office/drawing/2014/main" id="{AC3C1D67-E27D-8E1A-CED8-297EFD85A65A}"/>
              </a:ext>
            </a:extLst>
          </p:cNvPr>
          <p:cNvSpPr txBox="1">
            <a:spLocks/>
          </p:cNvSpPr>
          <p:nvPr/>
        </p:nvSpPr>
        <p:spPr>
          <a:xfrm>
            <a:off x="215999" y="225571"/>
            <a:ext cx="2250655" cy="3397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/>
          <a:lstStyle>
            <a:lvl1pPr marL="0" marR="0" indent="0" algn="l" defTabSz="2438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7200" b="0" i="0" u="none" strike="noStrike" cap="none" spc="0" baseline="0">
                <a:solidFill>
                  <a:schemeClr val="tx2"/>
                </a:solidFill>
                <a:uFillTx/>
                <a:latin typeface="IBM Plex Sans Light" panose="020B0403050203000203" pitchFamily="34" charset="0"/>
                <a:ea typeface="+mj-ea"/>
                <a:cs typeface="+mj-cs"/>
                <a:sym typeface="IBM Plex Sans Light"/>
              </a:defRPr>
            </a:lvl1pPr>
            <a:lvl2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2pPr>
            <a:lvl3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3pPr>
            <a:lvl4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4pPr>
            <a:lvl5pPr marL="0" marR="0" indent="0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5pPr>
            <a:lvl6pPr marL="0" marR="0" indent="362568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6pPr>
            <a:lvl7pPr marL="0" marR="0" indent="725139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7pPr>
            <a:lvl8pPr marL="0" marR="0" indent="108770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8pPr>
            <a:lvl9pPr marL="0" marR="0" indent="1450276" algn="l" defTabSz="2438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IBM Plex Sans Light"/>
              </a:defRPr>
            </a:lvl9pPr>
          </a:lstStyle>
          <a:p>
            <a:pPr defTabSz="914400"/>
            <a:r>
              <a:rPr lang="en-US" sz="1050" b="1" kern="0" dirty="0">
                <a:solidFill>
                  <a:srgbClr val="000000"/>
                </a:solidFill>
                <a:latin typeface="IBM Plex Sans Light"/>
              </a:rPr>
              <a:t>The impact of generative AI </a:t>
            </a:r>
            <a:r>
              <a:rPr lang="en-US" sz="1050" kern="0" dirty="0">
                <a:solidFill>
                  <a:srgbClr val="000000"/>
                </a:solidFill>
                <a:latin typeface="IBM Plex Sans Light"/>
              </a:rPr>
              <a:t>|</a:t>
            </a:r>
            <a:r>
              <a:rPr lang="en-US" sz="1050" b="1" kern="0" dirty="0">
                <a:solidFill>
                  <a:srgbClr val="000000"/>
                </a:solidFill>
                <a:latin typeface="IBM Plex Sans Light"/>
              </a:rPr>
              <a:t> </a:t>
            </a:r>
            <a:br>
              <a:rPr lang="en-US" sz="1050" b="1" kern="0" dirty="0">
                <a:solidFill>
                  <a:srgbClr val="000000"/>
                </a:solidFill>
                <a:latin typeface="IBM Plex Sans Light"/>
              </a:rPr>
            </a:br>
            <a:r>
              <a:rPr lang="en-US" sz="1050" kern="0" dirty="0">
                <a:solidFill>
                  <a:srgbClr val="000000"/>
                </a:solidFill>
                <a:latin typeface="IBM Plex Sans Light"/>
              </a:rPr>
              <a:t>The opportunity</a:t>
            </a:r>
            <a:br>
              <a:rPr lang="en-US" sz="1050" kern="0" dirty="0">
                <a:solidFill>
                  <a:srgbClr val="000000"/>
                </a:solidFill>
                <a:latin typeface="IBM Plex Sans Light"/>
              </a:rPr>
            </a:br>
            <a:endParaRPr lang="en-US" sz="1050" kern="0" dirty="0">
              <a:solidFill>
                <a:srgbClr val="000000"/>
              </a:solidFill>
              <a:latin typeface="IBM Plex Sans Light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A33C874-8A05-0F6E-2112-D4EACF33D9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97822" y="798044"/>
            <a:ext cx="435127" cy="43508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1EFC48D-A6C8-DF2C-CE28-A4DB874B2B9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68087" y="1468215"/>
            <a:ext cx="464862" cy="470173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A458F82-E0DF-0D6A-973B-4A6EF9CB3D7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13029" y="2193448"/>
            <a:ext cx="420087" cy="40501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1D29489F-B296-21A3-6C8C-2D3ACE18A1C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885461" y="2864946"/>
            <a:ext cx="430114" cy="435085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E3F7707E-92EB-5E7F-862F-D267D8365D6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46312" y="4284908"/>
            <a:ext cx="432092" cy="410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78049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89233158-2269-BE52-3A1C-C52ECE3BAD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28666" y="4902195"/>
            <a:ext cx="4114735" cy="166687"/>
          </a:xfrm>
        </p:spPr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IBM Cloud/ © 2024 IBM Corpor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8DF5022-D263-F405-584D-0147ACB91690}"/>
              </a:ext>
            </a:extLst>
          </p:cNvPr>
          <p:cNvSpPr/>
          <p:nvPr/>
        </p:nvSpPr>
        <p:spPr>
          <a:xfrm>
            <a:off x="696825" y="911620"/>
            <a:ext cx="2116628" cy="30777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/>
            <a:r>
              <a:rPr lang="en-US" sz="1400" b="1" dirty="0">
                <a:latin typeface="IBM Plex Sans Light" panose="020B0403050203000203" pitchFamily="34" charset="0"/>
              </a:rPr>
              <a:t>Technology Stack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6EE39D0-FB0F-A9A6-40F6-E01486006FAC}"/>
              </a:ext>
            </a:extLst>
          </p:cNvPr>
          <p:cNvGrpSpPr/>
          <p:nvPr/>
        </p:nvGrpSpPr>
        <p:grpSpPr>
          <a:xfrm>
            <a:off x="421126" y="1452363"/>
            <a:ext cx="2733891" cy="2568305"/>
            <a:chOff x="421126" y="1452363"/>
            <a:chExt cx="2733891" cy="256830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171212D-5606-B39E-AD37-EB7B1EFC4462}"/>
                </a:ext>
              </a:extLst>
            </p:cNvPr>
            <p:cNvSpPr/>
            <p:nvPr/>
          </p:nvSpPr>
          <p:spPr>
            <a:xfrm>
              <a:off x="434978" y="2100374"/>
              <a:ext cx="2720039" cy="52322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 hangingPunct="0"/>
              <a:r>
                <a:rPr lang="en-US" sz="1100" b="1" dirty="0">
                  <a:solidFill>
                    <a:schemeClr val="bg1"/>
                  </a:solidFill>
                  <a:latin typeface="IBM Plex Sans Light" panose="020B0403050203000203" pitchFamily="34" charset="0"/>
                  <a:sym typeface="IBM Plex Sans"/>
                </a:rPr>
                <a:t>AI</a:t>
              </a:r>
            </a:p>
            <a:p>
              <a:pPr algn="ctr" hangingPunct="0"/>
              <a:r>
                <a:rPr lang="en-US" sz="900" dirty="0">
                  <a:solidFill>
                    <a:schemeClr val="bg1"/>
                  </a:solidFill>
                  <a:latin typeface="IBM Plex Sans Light" panose="020B0403050203000203" pitchFamily="34" charset="0"/>
                  <a:sym typeface="IBM Plex Sans"/>
                </a:rPr>
                <a:t>Models, Training, Inferencing, Prompt, ML, etc.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BF36C53-5ED2-22FB-DE7E-448DF9556EE5}"/>
                </a:ext>
              </a:extLst>
            </p:cNvPr>
            <p:cNvSpPr/>
            <p:nvPr/>
          </p:nvSpPr>
          <p:spPr>
            <a:xfrm>
              <a:off x="421126" y="2784001"/>
              <a:ext cx="2733891" cy="523221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 hangingPunct="0"/>
              <a:r>
                <a:rPr lang="en-US" sz="1100" b="1" dirty="0">
                  <a:solidFill>
                    <a:schemeClr val="bg1"/>
                  </a:solidFill>
                  <a:latin typeface="IBM Plex Sans Light" panose="020B0403050203000203" pitchFamily="34" charset="0"/>
                  <a:sym typeface="IBM Plex Sans"/>
                </a:rPr>
                <a:t>Data</a:t>
              </a:r>
              <a:br>
                <a:rPr lang="en-US" sz="1100" dirty="0">
                  <a:solidFill>
                    <a:schemeClr val="bg1"/>
                  </a:solidFill>
                  <a:latin typeface="IBM Plex Sans Light" panose="020B0403050203000203" pitchFamily="34" charset="0"/>
                  <a:sym typeface="IBM Plex Sans"/>
                </a:rPr>
              </a:br>
              <a:r>
                <a:rPr lang="en-US" sz="900" dirty="0">
                  <a:solidFill>
                    <a:schemeClr val="bg1"/>
                  </a:solidFill>
                  <a:latin typeface="IBM Plex Sans Light" panose="020B0403050203000203" pitchFamily="34" charset="0"/>
                  <a:sym typeface="IBM Plex Sans"/>
                </a:rPr>
                <a:t>Data stores, Data lake, Lakehouse, Object storage, Metadata, BI, etc.</a:t>
              </a:r>
              <a:endParaRPr lang="en-US" sz="1100" dirty="0">
                <a:solidFill>
                  <a:schemeClr val="bg1"/>
                </a:solidFill>
                <a:latin typeface="IBM Plex Sans Light" panose="020B0403050203000203" pitchFamily="34" charset="0"/>
                <a:sym typeface="IBM Plex San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86D7FE8-CA48-F271-27A9-428EC0EB7793}"/>
                </a:ext>
              </a:extLst>
            </p:cNvPr>
            <p:cNvSpPr/>
            <p:nvPr/>
          </p:nvSpPr>
          <p:spPr bwMode="auto">
            <a:xfrm>
              <a:off x="434978" y="1452363"/>
              <a:ext cx="2720039" cy="523220"/>
            </a:xfrm>
            <a:prstGeom prst="rect">
              <a:avLst/>
            </a:prstGeom>
            <a:solidFill>
              <a:srgbClr val="002060"/>
            </a:solidFill>
            <a:ln>
              <a:solidFill>
                <a:schemeClr val="tx1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 hangingPunct="0"/>
              <a:r>
                <a:rPr lang="en-US" sz="1000" b="1" dirty="0">
                  <a:solidFill>
                    <a:schemeClr val="bg1"/>
                  </a:solidFill>
                  <a:latin typeface="IBM Plex Sans Light" panose="020B0403050203000203" pitchFamily="34" charset="0"/>
                  <a:sym typeface="IBM Plex Sans"/>
                </a:rPr>
                <a:t>Apps</a:t>
              </a:r>
            </a:p>
            <a:p>
              <a:pPr algn="ctr" hangingPunct="0"/>
              <a:r>
                <a:rPr lang="en-US" sz="900" dirty="0">
                  <a:solidFill>
                    <a:schemeClr val="bg1"/>
                  </a:solidFill>
                  <a:latin typeface="IBM Plex Sans Light" panose="020B0403050203000203" pitchFamily="34" charset="0"/>
                  <a:sym typeface="IBM Plex Sans"/>
                </a:rPr>
                <a:t>Customer Service, Fraud Detection, Cyber Security, etc.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0C3219E-E385-1134-C285-AB5BB9149767}"/>
                </a:ext>
              </a:extLst>
            </p:cNvPr>
            <p:cNvSpPr/>
            <p:nvPr/>
          </p:nvSpPr>
          <p:spPr>
            <a:xfrm>
              <a:off x="425056" y="3454281"/>
              <a:ext cx="2729961" cy="56638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txBody>
            <a:bodyPr wrap="square" anchor="ctr" anchorCtr="0">
              <a:noAutofit/>
            </a:bodyPr>
            <a:lstStyle/>
            <a:p>
              <a:pPr algn="ctr" hangingPunct="0"/>
              <a:r>
                <a:rPr lang="en-US" sz="1100" b="1" dirty="0">
                  <a:latin typeface="IBM Plex Sans Light" panose="020B0403050203000203" pitchFamily="34" charset="0"/>
                  <a:sym typeface="IBM Plex Sans"/>
                </a:rPr>
                <a:t>Infrastructure/Hybrid Cloud Platform</a:t>
              </a:r>
              <a:br>
                <a:rPr lang="en-US" sz="1100" dirty="0">
                  <a:latin typeface="IBM Plex Sans Light" panose="020B0403050203000203" pitchFamily="34" charset="0"/>
                  <a:sym typeface="IBM Plex Sans"/>
                </a:rPr>
              </a:br>
              <a:r>
                <a:rPr lang="en-US" sz="1000" dirty="0">
                  <a:latin typeface="IBM Plex Sans Light" panose="020B0403050203000203" pitchFamily="34" charset="0"/>
                  <a:sym typeface="IBM Plex Sans"/>
                </a:rPr>
                <a:t>Compute, Storage, Network, Containers</a:t>
              </a:r>
              <a:endParaRPr lang="en-US" sz="1100" dirty="0">
                <a:latin typeface="IBM Plex Sans Light" panose="020B0403050203000203" pitchFamily="34" charset="0"/>
                <a:sym typeface="IBM Plex Sans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62D16B74-D464-D9A1-D31E-3A06A966156B}"/>
              </a:ext>
            </a:extLst>
          </p:cNvPr>
          <p:cNvSpPr/>
          <p:nvPr/>
        </p:nvSpPr>
        <p:spPr>
          <a:xfrm>
            <a:off x="3502336" y="941022"/>
            <a:ext cx="2116628" cy="30777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/>
            <a:r>
              <a:rPr lang="en-US" sz="1400" b="1" dirty="0">
                <a:latin typeface="IBM Plex Sans Light" panose="020B0403050203000203" pitchFamily="34" charset="0"/>
              </a:rPr>
              <a:t>GenAI Risk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B962AF9-BB2D-7763-5F53-F9BFCB03AA7E}"/>
              </a:ext>
            </a:extLst>
          </p:cNvPr>
          <p:cNvSpPr txBox="1"/>
          <p:nvPr/>
        </p:nvSpPr>
        <p:spPr>
          <a:xfrm>
            <a:off x="3502336" y="1791324"/>
            <a:ext cx="21166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205"/>
            <a:r>
              <a:rPr lang="en-US" sz="1400" b="1" dirty="0">
                <a:solidFill>
                  <a:schemeClr val="accent2"/>
                </a:solidFill>
                <a:effectLst/>
                <a:latin typeface="IBM Plex Sans Light" panose="020B040305020300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plication </a:t>
            </a:r>
            <a:r>
              <a:rPr lang="en-US" sz="1400" b="1" dirty="0">
                <a:solidFill>
                  <a:schemeClr val="accent2"/>
                </a:solidFill>
                <a:latin typeface="IBM Plex Sans Light" panose="020B040305020300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en-US" sz="1400" b="1" dirty="0">
                <a:solidFill>
                  <a:schemeClr val="accent2"/>
                </a:solidFill>
                <a:effectLst/>
                <a:latin typeface="IBM Plex Sans Light" panose="020B040305020300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k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75F2167-F460-B803-A2CD-05D2BAF17D3B}"/>
              </a:ext>
            </a:extLst>
          </p:cNvPr>
          <p:cNvSpPr txBox="1"/>
          <p:nvPr/>
        </p:nvSpPr>
        <p:spPr>
          <a:xfrm>
            <a:off x="3502336" y="2169071"/>
            <a:ext cx="21166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205"/>
            <a:r>
              <a:rPr lang="en-US" sz="1400" b="1" dirty="0">
                <a:solidFill>
                  <a:schemeClr val="accent2"/>
                </a:solidFill>
                <a:latin typeface="IBM Plex Sans Light" panose="020B040305020300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el</a:t>
            </a:r>
            <a:r>
              <a:rPr lang="en-US" sz="1400" b="1" dirty="0">
                <a:solidFill>
                  <a:schemeClr val="accent2"/>
                </a:solidFill>
                <a:effectLst/>
                <a:latin typeface="IBM Plex Sans Light" panose="020B040305020300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isk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93DDCAE-ED31-E2C3-0A66-87833AF85D7A}"/>
              </a:ext>
            </a:extLst>
          </p:cNvPr>
          <p:cNvSpPr txBox="1"/>
          <p:nvPr/>
        </p:nvSpPr>
        <p:spPr>
          <a:xfrm>
            <a:off x="3502336" y="2547795"/>
            <a:ext cx="21166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205"/>
            <a:r>
              <a:rPr lang="en-US" sz="1400" b="1" dirty="0">
                <a:solidFill>
                  <a:schemeClr val="accent2"/>
                </a:solidFill>
                <a:effectLst/>
                <a:latin typeface="IBM Plex Sans Light" panose="020B040305020300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Risk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0218A1-596F-806D-C898-B7F8BD9C6209}"/>
              </a:ext>
            </a:extLst>
          </p:cNvPr>
          <p:cNvSpPr txBox="1"/>
          <p:nvPr/>
        </p:nvSpPr>
        <p:spPr>
          <a:xfrm>
            <a:off x="3502336" y="2914703"/>
            <a:ext cx="21166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205"/>
            <a:r>
              <a:rPr lang="en-US" sz="1400" b="1" dirty="0">
                <a:solidFill>
                  <a:schemeClr val="accent2"/>
                </a:solidFill>
                <a:effectLst/>
                <a:latin typeface="IBM Plex Sans Light" panose="020B040305020300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vernance Risk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51A5C2D-4B60-604F-6C97-FD22D4CC66CF}"/>
              </a:ext>
            </a:extLst>
          </p:cNvPr>
          <p:cNvSpPr/>
          <p:nvPr/>
        </p:nvSpPr>
        <p:spPr bwMode="auto">
          <a:xfrm>
            <a:off x="3502336" y="1569489"/>
            <a:ext cx="2116628" cy="2244530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E34030B-D6D8-C69B-33DE-E4AF3C8BF321}"/>
              </a:ext>
            </a:extLst>
          </p:cNvPr>
          <p:cNvSpPr/>
          <p:nvPr/>
        </p:nvSpPr>
        <p:spPr>
          <a:xfrm>
            <a:off x="6267013" y="933272"/>
            <a:ext cx="2116628" cy="30777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/>
            <a:r>
              <a:rPr lang="en-US" sz="1400" b="1" dirty="0">
                <a:latin typeface="IBM Plex Sans Light" panose="020B0403050203000203" pitchFamily="34" charset="0"/>
              </a:rPr>
              <a:t>Control Stack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7A9744F-89C0-B5B7-ABE7-D3DDF32245E1}"/>
              </a:ext>
            </a:extLst>
          </p:cNvPr>
          <p:cNvSpPr txBox="1"/>
          <p:nvPr/>
        </p:nvSpPr>
        <p:spPr>
          <a:xfrm>
            <a:off x="3770053" y="3395472"/>
            <a:ext cx="15334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1100"/>
              </a:spcBef>
            </a:pPr>
            <a:r>
              <a:rPr lang="en-US" sz="600" dirty="0">
                <a:solidFill>
                  <a:schemeClr val="tx1"/>
                </a:solidFill>
                <a:latin typeface="+mn-lt"/>
                <a:ea typeface="IBM Plex Sans" charset="0"/>
                <a:cs typeface="IBM Plex Sans" charset="0"/>
              </a:rPr>
              <a:t>Sources: IBM FS Cloud Council, OWASP, NIST AI RMF, ENISA, Gartner, MITRE ATLAS, IBM Promontory, IBM Research. </a:t>
            </a: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id="{3D3D0E78-83EE-040F-2CC4-D1728D219C16}"/>
              </a:ext>
            </a:extLst>
          </p:cNvPr>
          <p:cNvSpPr txBox="1">
            <a:spLocks/>
          </p:cNvSpPr>
          <p:nvPr/>
        </p:nvSpPr>
        <p:spPr>
          <a:xfrm>
            <a:off x="120258" y="154030"/>
            <a:ext cx="8864243" cy="80467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kern="0" dirty="0"/>
              <a:t>Gen AI technology stack &amp; controls approach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06D9090-AA75-7444-00B3-2AEC7C12943A}"/>
              </a:ext>
            </a:extLst>
          </p:cNvPr>
          <p:cNvGrpSpPr/>
          <p:nvPr/>
        </p:nvGrpSpPr>
        <p:grpSpPr>
          <a:xfrm>
            <a:off x="5846898" y="1310634"/>
            <a:ext cx="3068435" cy="2910923"/>
            <a:chOff x="2662107" y="2162301"/>
            <a:chExt cx="2956857" cy="2910923"/>
          </a:xfrm>
        </p:grpSpPr>
        <p:graphicFrame>
          <p:nvGraphicFramePr>
            <p:cNvPr id="32" name="Diagram 31">
              <a:extLst>
                <a:ext uri="{FF2B5EF4-FFF2-40B4-BE49-F238E27FC236}">
                  <a16:creationId xmlns:a16="http://schemas.microsoft.com/office/drawing/2014/main" id="{EB297B64-6184-962E-6609-087F7DF33146}"/>
                </a:ext>
              </a:extLst>
            </p:cNvPr>
            <p:cNvGraphicFramePr/>
            <p:nvPr/>
          </p:nvGraphicFramePr>
          <p:xfrm>
            <a:off x="2662107" y="2162301"/>
            <a:ext cx="2956857" cy="246634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2D199F8-5155-53C0-23F7-6BD30AB45FF6}"/>
                </a:ext>
              </a:extLst>
            </p:cNvPr>
            <p:cNvGrpSpPr/>
            <p:nvPr/>
          </p:nvGrpSpPr>
          <p:grpSpPr>
            <a:xfrm>
              <a:off x="2662107" y="4643852"/>
              <a:ext cx="2956857" cy="429372"/>
              <a:chOff x="5618964" y="4166570"/>
              <a:chExt cx="2926264" cy="401588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5D582479-51F0-0D0B-02AE-F3823B6EE993}"/>
                  </a:ext>
                </a:extLst>
              </p:cNvPr>
              <p:cNvSpPr/>
              <p:nvPr/>
            </p:nvSpPr>
            <p:spPr>
              <a:xfrm>
                <a:off x="5618964" y="4166570"/>
                <a:ext cx="2926264" cy="40158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 w="28575">
                <a:solidFill>
                  <a:schemeClr val="tx1"/>
                </a:solidFill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114298" algn="ctr" defTabSz="1828754">
                  <a:lnSpc>
                    <a:spcPct val="90000"/>
                  </a:lnSpc>
                  <a:spcAft>
                    <a:spcPts val="1200"/>
                  </a:spcAft>
                </a:pPr>
                <a:endParaRPr lang="en-US" sz="2400" dirty="0">
                  <a:latin typeface="IBM Plex Sans Light" panose="020B0403050203000203" pitchFamily="34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C8545AB-A7CF-44F4-23D4-F9A4B609BAF6}"/>
                  </a:ext>
                </a:extLst>
              </p:cNvPr>
              <p:cNvSpPr txBox="1"/>
              <p:nvPr/>
            </p:nvSpPr>
            <p:spPr>
              <a:xfrm>
                <a:off x="5618964" y="4253263"/>
                <a:ext cx="2926263" cy="2374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85983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IBM Plex Sans" panose="020B0503050203000203" pitchFamily="34" charset="0"/>
                    <a:ea typeface="IBM Plex Sans" charset="0"/>
                    <a:cs typeface="IBM Plex Sans" charset="0"/>
                  </a:rPr>
                  <a:t>AI Governance, Risk &amp; Compliance</a:t>
                </a:r>
                <a:endParaRPr kumimoji="0" lang="en-US" sz="105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IBM Plex Sans" panose="020B0503050203000203" pitchFamily="34" charset="0"/>
                  <a:ea typeface="IBM Plex Sans" charset="0"/>
                  <a:cs typeface="IBM Plex Sans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62072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3095EE-C893-F046-BA14-3D95F2C9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978" y="109568"/>
            <a:ext cx="2886293" cy="517731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IBM Plex Sans" panose="020B0503050203000203" pitchFamily="34" charset="0"/>
              </a:rPr>
              <a:t>Resourc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304A75F-4372-9543-B983-FB6F33D183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643" y="812787"/>
            <a:ext cx="3467100" cy="3928671"/>
          </a:xfrm>
        </p:spPr>
        <p:txBody>
          <a:bodyPr>
            <a:normAutofit lnSpcReduction="10000"/>
          </a:bodyPr>
          <a:lstStyle/>
          <a:p>
            <a:pPr marL="3572" indent="-175022"/>
            <a:r>
              <a:rPr lang="en-US" b="1" dirty="0">
                <a:latin typeface="IBM Plex Sans" panose="020B0503050203000203" pitchFamily="34" charset="0"/>
              </a:rPr>
              <a:t>Useful AI Links</a:t>
            </a:r>
          </a:p>
          <a:p>
            <a:pPr marL="3572" indent="-175022"/>
            <a:endParaRPr lang="en-US" b="1" dirty="0">
              <a:latin typeface="IBM Plex Sans" panose="020B0503050203000203" pitchFamily="34" charset="0"/>
            </a:endParaRPr>
          </a:p>
          <a:p>
            <a:pPr marL="0" marR="0"/>
            <a:r>
              <a:rPr lang="en-US" sz="1100" dirty="0">
                <a:effectLst/>
                <a:latin typeface="+mn-lt"/>
                <a:ea typeface="Times New Roman" panose="02020603050405020304" pitchFamily="18" charset="0"/>
                <a:cs typeface="Segoe UI" panose="020B0502040204020203" pitchFamily="34" charset="0"/>
              </a:rPr>
              <a:t>NIST AI Risk Management Framework RMF v1.0 </a:t>
            </a:r>
            <a:r>
              <a:rPr lang="en-US" sz="1000" u="sng" dirty="0">
                <a:solidFill>
                  <a:srgbClr val="0563C1"/>
                </a:solidFill>
                <a:effectLst/>
                <a:latin typeface="+mn-lt"/>
                <a:ea typeface="IBM Plex Sans" panose="020B0503050203000203" pitchFamily="34" charset="0"/>
                <a:cs typeface="Segoe UI" panose="020B0502040204020203" pitchFamily="34" charset="0"/>
                <a:hlinkClick r:id="rId2"/>
              </a:rPr>
              <a:t>https://airc.nist.gov/AI_RMF_Knowledge_Base/Playbook</a:t>
            </a:r>
            <a:endParaRPr lang="en-US" sz="10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0" marR="0"/>
            <a:r>
              <a:rPr lang="en-US" sz="1100" dirty="0"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en-US" sz="11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0" marR="0"/>
            <a:r>
              <a:rPr lang="en-US" sz="1100" b="1" dirty="0">
                <a:effectLst/>
                <a:latin typeface="+mn-lt"/>
                <a:ea typeface="Times New Roman" panose="02020603050405020304" pitchFamily="18" charset="0"/>
                <a:cs typeface="Segoe UI" panose="020B0502040204020203" pitchFamily="34" charset="0"/>
              </a:rPr>
              <a:t>U.S. Department of the Treasury</a:t>
            </a:r>
          </a:p>
          <a:p>
            <a:pPr marL="0" marR="0"/>
            <a:r>
              <a:rPr lang="en-US" sz="1100" i="1" dirty="0">
                <a:effectLst/>
                <a:latin typeface="+mn-lt"/>
                <a:ea typeface="Times New Roman" panose="02020603050405020304" pitchFamily="18" charset="0"/>
                <a:cs typeface="Segoe UI" panose="020B0502040204020203" pitchFamily="34" charset="0"/>
              </a:rPr>
              <a:t>Managing Artificial Intelligence-Specific Cybersecurity Risks in the Financial Services Sector </a:t>
            </a:r>
          </a:p>
          <a:p>
            <a:pPr marL="0" marR="0"/>
            <a:r>
              <a:rPr lang="en-US" sz="1100" dirty="0">
                <a:effectLst/>
                <a:latin typeface="+mn-lt"/>
                <a:ea typeface="Times New Roman" panose="02020603050405020304" pitchFamily="18" charset="0"/>
                <a:cs typeface="Segoe UI" panose="020B0502040204020203" pitchFamily="34" charset="0"/>
                <a:hlinkClick r:id="rId3"/>
              </a:rPr>
              <a:t>https://home.treasury.gov/news/press-releases/jy2212</a:t>
            </a:r>
            <a:r>
              <a:rPr lang="en-US" sz="1100" dirty="0">
                <a:effectLst/>
                <a:latin typeface="+mn-lt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</a:p>
          <a:p>
            <a:pPr marL="0" marR="0"/>
            <a:endParaRPr lang="en-US" sz="10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0" marR="0"/>
            <a:r>
              <a:rPr lang="en-US" sz="1100" dirty="0">
                <a:effectLst/>
                <a:latin typeface="+mn-lt"/>
                <a:ea typeface="Times New Roman" panose="02020603050405020304" pitchFamily="18" charset="0"/>
                <a:cs typeface="Segoe UI" panose="020B0502040204020203" pitchFamily="34" charset="0"/>
              </a:rPr>
              <a:t>IBM Artificial Intelligence Pillars </a:t>
            </a:r>
            <a:r>
              <a:rPr lang="en-US" sz="900" u="sng" dirty="0">
                <a:solidFill>
                  <a:srgbClr val="0563C1"/>
                </a:solidFill>
                <a:effectLst/>
                <a:latin typeface="+mn-lt"/>
                <a:ea typeface="IBM Plex Sans" panose="020B0503050203000203" pitchFamily="34" charset="0"/>
                <a:cs typeface="Segoe UI" panose="020B0502040204020203" pitchFamily="34" charset="0"/>
                <a:hlinkClick r:id="rId4"/>
              </a:rPr>
              <a:t>https://www.ibm.com/policy/ibm-artificial-intelligence-pillars/ </a:t>
            </a:r>
            <a:endParaRPr lang="en-US" sz="11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0" marR="0"/>
            <a:endParaRPr lang="en-US" sz="1100" b="1" dirty="0">
              <a:effectLst/>
              <a:latin typeface="+mn-lt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0" marR="0"/>
            <a:r>
              <a:rPr lang="en-US" sz="1100" dirty="0">
                <a:effectLst/>
                <a:latin typeface="+mn-lt"/>
                <a:ea typeface="Times New Roman" panose="02020603050405020304" pitchFamily="18" charset="0"/>
                <a:cs typeface="Segoe UI" panose="020B0502040204020203" pitchFamily="34" charset="0"/>
              </a:rPr>
              <a:t>IBM's Principles for Trust and Transparency in Artificial Intelligence</a:t>
            </a:r>
            <a:endParaRPr lang="en-US" sz="11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0" marR="0"/>
            <a:r>
              <a:rPr lang="en-US" sz="1000" u="sng" dirty="0">
                <a:solidFill>
                  <a:srgbClr val="0563C1"/>
                </a:solidFill>
                <a:effectLst/>
                <a:latin typeface="+mn-lt"/>
                <a:ea typeface="IBM Plex Sans" panose="020B0503050203000203" pitchFamily="34" charset="0"/>
                <a:cs typeface="Segoe UI" panose="020B0502040204020203" pitchFamily="34" charset="0"/>
                <a:hlinkClick r:id="rId5"/>
              </a:rPr>
              <a:t>https://www.ibm.com/policy/trust-transparency-new/</a:t>
            </a:r>
            <a:endParaRPr lang="en-US" sz="1000" u="sng" dirty="0">
              <a:solidFill>
                <a:srgbClr val="0563C1"/>
              </a:solidFill>
              <a:effectLst/>
              <a:latin typeface="+mn-lt"/>
              <a:ea typeface="IBM Plex Sans" panose="020B0503050203000203" pitchFamily="34" charset="0"/>
              <a:cs typeface="Segoe UI" panose="020B0502040204020203" pitchFamily="34" charset="0"/>
            </a:endParaRPr>
          </a:p>
          <a:p>
            <a:pPr marL="0" marR="0"/>
            <a:endParaRPr lang="en-US" sz="1000" u="sng" dirty="0">
              <a:solidFill>
                <a:srgbClr val="0563C1"/>
              </a:solidFill>
              <a:latin typeface="+mn-lt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0" marR="0"/>
            <a:r>
              <a:rPr lang="en-US" sz="1000" dirty="0">
                <a:effectLst/>
                <a:latin typeface="+mn-lt"/>
                <a:ea typeface="Times New Roman" panose="02020603050405020304" pitchFamily="18" charset="0"/>
              </a:rPr>
              <a:t>AI Factsheets 360</a:t>
            </a:r>
          </a:p>
          <a:p>
            <a:pPr marL="0" marR="0"/>
            <a:r>
              <a:rPr lang="en-US" sz="1000" dirty="0">
                <a:latin typeface="+mn-lt"/>
                <a:ea typeface="Times New Roman" panose="02020603050405020304" pitchFamily="18" charset="0"/>
                <a:hlinkClick r:id="rId6"/>
              </a:rPr>
              <a:t>https://aifs360.res.ibm.com/</a:t>
            </a:r>
            <a:r>
              <a:rPr lang="en-US" sz="1000" dirty="0">
                <a:latin typeface="+mn-lt"/>
                <a:ea typeface="Times New Roman" panose="02020603050405020304" pitchFamily="18" charset="0"/>
              </a:rPr>
              <a:t> </a:t>
            </a:r>
          </a:p>
          <a:p>
            <a:pPr marL="0" marR="0"/>
            <a:endParaRPr lang="en-US" sz="10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0" marR="0"/>
            <a:r>
              <a:rPr lang="en-US" sz="1000" dirty="0">
                <a:latin typeface="+mn-lt"/>
                <a:ea typeface="Times New Roman" panose="02020603050405020304" pitchFamily="18" charset="0"/>
              </a:rPr>
              <a:t>Adversarial Robustness 360</a:t>
            </a:r>
          </a:p>
          <a:p>
            <a:pPr marL="0" marR="0"/>
            <a:r>
              <a:rPr lang="en-US" sz="1000" dirty="0">
                <a:effectLst/>
                <a:latin typeface="+mn-lt"/>
                <a:ea typeface="Times New Roman" panose="02020603050405020304" pitchFamily="18" charset="0"/>
                <a:hlinkClick r:id="rId7"/>
              </a:rPr>
              <a:t>https://art360.res.ibm.com/</a:t>
            </a:r>
            <a:r>
              <a:rPr lang="en-US" sz="1000" dirty="0">
                <a:effectLst/>
                <a:latin typeface="+mn-lt"/>
                <a:ea typeface="Times New Roman" panose="02020603050405020304" pitchFamily="18" charset="0"/>
              </a:rPr>
              <a:t> </a:t>
            </a:r>
          </a:p>
          <a:p>
            <a:pPr marL="0" lvl="1" indent="0">
              <a:buNone/>
            </a:pPr>
            <a:endParaRPr lang="en-US" b="1" dirty="0">
              <a:latin typeface="IBM Plex Sans" panose="020B0503050203000203" pitchFamily="34" charset="0"/>
            </a:endParaRPr>
          </a:p>
          <a:p>
            <a:pPr marL="0" lvl="1" indent="0">
              <a:buNone/>
            </a:pPr>
            <a:endParaRPr lang="en-US" b="1" dirty="0">
              <a:latin typeface="IBM Plex Sans" panose="020B0503050203000203" pitchFamily="34" charset="0"/>
            </a:endParaRPr>
          </a:p>
          <a:p>
            <a:r>
              <a:rPr lang="en-US" sz="1200" b="1" dirty="0">
                <a:latin typeface="IBM Plex Sans" panose="020B0503050203000203" pitchFamily="34" charset="0"/>
              </a:rPr>
              <a:t>IBM watsonx.governance</a:t>
            </a:r>
          </a:p>
          <a:p>
            <a:pPr marL="0" lvl="1" indent="0">
              <a:buNone/>
            </a:pPr>
            <a:r>
              <a:rPr lang="en-US" sz="1000" dirty="0">
                <a:latin typeface="IBM Plex Sans" panose="020B0503050203000203" pitchFamily="34" charset="0"/>
                <a:hlinkClick r:id="rId8"/>
              </a:rPr>
              <a:t>https://www.ibm.com/products/watsonx-governance</a:t>
            </a:r>
            <a:r>
              <a:rPr lang="en-US" sz="1000" dirty="0">
                <a:latin typeface="IBM Plex Sans" panose="020B0503050203000203" pitchFamily="34" charset="0"/>
              </a:rPr>
              <a:t> </a:t>
            </a:r>
            <a:endParaRPr lang="en-US" sz="1200" dirty="0">
              <a:latin typeface="IBM Plex Sans" panose="020B0503050203000203" pitchFamily="34" charset="0"/>
            </a:endParaRPr>
          </a:p>
          <a:p>
            <a:pPr indent="-171450"/>
            <a:endParaRPr lang="en-US" dirty="0">
              <a:latin typeface="IBM Plex Sans" panose="020B0503050203000203" pitchFamily="34" charset="0"/>
            </a:endParaRPr>
          </a:p>
          <a:p>
            <a:pPr indent="-171450"/>
            <a:endParaRPr lang="en-US" dirty="0">
              <a:latin typeface="IBM Plex Sans" panose="020B0503050203000203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1A3D6C-DE54-D743-B796-931F134CC2B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6259" y="1696547"/>
            <a:ext cx="4208786" cy="581448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IBM Plex Sans" panose="020B0503050203000203" pitchFamily="34" charset="0"/>
              </a:rPr>
              <a:t>Dave Kliemann</a:t>
            </a:r>
          </a:p>
          <a:p>
            <a:r>
              <a:rPr lang="en-US" sz="1200" b="0" dirty="0">
                <a:latin typeface="IBM Plex Sans" panose="020B0503050203000203" pitchFamily="34" charset="0"/>
              </a:rPr>
              <a:t>Cloud Risk &amp; Controls Leader, IBM Cloud</a:t>
            </a:r>
          </a:p>
          <a:p>
            <a:r>
              <a:rPr lang="en-US" dirty="0">
                <a:latin typeface="IBM Plex Sans" panose="020B0503050203000203" pitchFamily="34" charset="0"/>
                <a:hlinkClick r:id="rId9"/>
              </a:rPr>
              <a:t>David.Kliemann@ibm.com</a:t>
            </a:r>
            <a:endParaRPr lang="en-US" dirty="0">
              <a:latin typeface="IBM Plex Sans" panose="020B0503050203000203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AFAB23-2C31-09D9-E894-7467BC6F97C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57778" y="3381375"/>
            <a:ext cx="1467267" cy="143103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E2810A0-FC1C-AF98-A116-1E613ED3AF15}"/>
              </a:ext>
            </a:extLst>
          </p:cNvPr>
          <p:cNvSpPr txBox="1"/>
          <p:nvPr/>
        </p:nvSpPr>
        <p:spPr>
          <a:xfrm>
            <a:off x="6830018" y="4741458"/>
            <a:ext cx="19227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bm.biz/fsccandf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F0B5A8-5880-F817-9648-85C486EE97C6}"/>
              </a:ext>
            </a:extLst>
          </p:cNvPr>
          <p:cNvSpPr txBox="1"/>
          <p:nvPr/>
        </p:nvSpPr>
        <p:spPr>
          <a:xfrm>
            <a:off x="4316259" y="2996557"/>
            <a:ext cx="3622062" cy="30777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Financial Services Cloud Council and Forum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28A35B-D1AD-D371-FF86-B4DBE77ED6CE}"/>
              </a:ext>
            </a:extLst>
          </p:cNvPr>
          <p:cNvSpPr txBox="1"/>
          <p:nvPr/>
        </p:nvSpPr>
        <p:spPr>
          <a:xfrm>
            <a:off x="4316259" y="3292082"/>
            <a:ext cx="2618563" cy="6001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A virtual community to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earn, share, debate and solv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the most relevant industry challenges. </a:t>
            </a:r>
          </a:p>
        </p:txBody>
      </p:sp>
      <p:pic>
        <p:nvPicPr>
          <p:cNvPr id="24" name="Picture">
            <a:extLst>
              <a:ext uri="{FF2B5EF4-FFF2-40B4-BE49-F238E27FC236}">
                <a16:creationId xmlns:a16="http://schemas.microsoft.com/office/drawing/2014/main" id="{D8CAE976-5057-F04B-BFFF-6406015B142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2609" y="262421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33821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" id="{4C35AED2-0956-0D40-B36D-C06D62725AA8}" vid="{C4BA05BF-74B1-4B4C-B175-992815DE89C6}"/>
    </a:ext>
  </a:extLst>
</a:theme>
</file>

<file path=ppt/theme/theme2.xml><?xml version="1.0" encoding="utf-8"?>
<a:theme xmlns:a="http://schemas.openxmlformats.org/drawingml/2006/main" name="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Presentation33" id="{066F0BFD-7CCA-F449-9FD2-D5B43B1418ED}" vid="{D80BA94D-0118-E64E-B9C8-BCC61D2D4F13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IBM Plex">
      <a:majorFont>
        <a:latin typeface="IBM Plex Sans Bold"/>
        <a:ea typeface=""/>
        <a:cs typeface=""/>
      </a:majorFont>
      <a:minorFont>
        <a:latin typeface="IBM Plex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IBM Plex Sans" panose="020B0503050203000203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Presentation29" id="{C2715693-8199-FA4F-AB5A-2971AAF1B15D}" vid="{05966E6E-92F8-C94A-A1E5-5E5CC0D90A56}"/>
    </a:ext>
  </a:extLst>
</a:theme>
</file>

<file path=ppt/theme/theme4.xml><?xml version="1.0" encoding="utf-8"?>
<a:theme xmlns:a="http://schemas.openxmlformats.org/drawingml/2006/main" name="IBM presentation enablement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327600" marR="0" indent="-32760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Char char="•"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algn="l" defTabSz="2438400">
          <a:buSzPct val="100000"/>
          <a:defRPr sz="2400" dirty="0" smtClean="0">
            <a:cs typeface="Arial" panose="020B0604020202020204" pitchFamily="34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461DE280-6773-3240-A149-7E3C0A49F9FC}" vid="{119F70B9-3B70-5545-8722-9A4DAAA12CBF}"/>
    </a:ext>
  </a:extLst>
</a:theme>
</file>

<file path=ppt/theme/theme5.xml><?xml version="1.0" encoding="utf-8"?>
<a:theme xmlns:a="http://schemas.openxmlformats.org/drawingml/2006/main" name="1_IBM presentation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5F6FF"/>
        </a:solidFill>
        <a:ln w="19050">
          <a:solidFill>
            <a:srgbClr val="E5F6FF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IBM Plex Sans Light"/>
          <a:buNone/>
          <a:tabLst/>
          <a:defRPr kumimoji="0" sz="14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="" xmlns:m="http://schemas.openxmlformats.org/officeDocument/2006/math" xmlns:a14="http://schemas.microsoft.com/office/drawing/2010/main" xmlns:ma14="http://schemas.microsoft.com/office/mac/drawingml/2011/main" val="1"/>
          </a:ext>
        </a:extLst>
      </a:spPr>
      <a:bodyPr wrap="square" lIns="0" tIns="0" rIns="0" bIns="0" rtlCol="0">
        <a:noAutofit/>
      </a:bodyPr>
      <a:lstStyle>
        <a:defPPr marL="444465" indent="-446749" algn="l" defTabSz="2438400">
          <a:spcBef>
            <a:spcPts val="2900"/>
          </a:spcBef>
          <a:buSzPct val="100000"/>
          <a:buFontTx/>
          <a:buChar char="–"/>
          <a:defRPr kern="0" dirty="0" smtClean="0">
            <a:solidFill>
              <a:srgbClr val="000000"/>
            </a:solidFill>
            <a:ea typeface="+mj-ea"/>
            <a:cs typeface="+mj-cs"/>
            <a:sym typeface="IBM Plex Sans Light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Presentation33" id="{066F0BFD-7CCA-F449-9FD2-D5B43B1418ED}" vid="{D80BA94D-0118-E64E-B9C8-BCC61D2D4F13}"/>
    </a:ext>
  </a:extLst>
</a:theme>
</file>

<file path=ppt/theme/theme6.xml><?xml version="1.0" encoding="utf-8"?>
<a:theme xmlns:a="http://schemas.openxmlformats.org/drawingml/2006/main" name="8_IBM 2019 Master template (white background)">
  <a:themeElements>
    <a:clrScheme name="Custom 1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Cloud_Master_Presentation_2020_V01_Arial" id="{751FC046-BFE2-264A-B588-93AADC334A29}" vid="{5C0E6ECF-C791-A042-A3B0-F47895A7C984}"/>
    </a:ext>
  </a:extLst>
</a:theme>
</file>

<file path=ppt/theme/theme7.xml><?xml version="1.0" encoding="utf-8"?>
<a:theme xmlns:a="http://schemas.openxmlformats.org/drawingml/2006/main" name="1_IBM presentation enablement template">
  <a:themeElements>
    <a:clrScheme name="Custom 1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0F62FE"/>
      </a:accent1>
      <a:accent2>
        <a:srgbClr val="A56EFF"/>
      </a:accent2>
      <a:accent3>
        <a:srgbClr val="003A6D"/>
      </a:accent3>
      <a:accent4>
        <a:srgbClr val="009D9A"/>
      </a:accent4>
      <a:accent5>
        <a:srgbClr val="9F1853"/>
      </a:accent5>
      <a:accent6>
        <a:srgbClr val="FA4D5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327600" marR="0" indent="-32760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Char char="•"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270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:a14="http://schemas.microsoft.com/office/drawing/2010/main" xmlns:m="http://schemas.openxmlformats.org/officeDocument/2006/math" xmlns="" xmlns:p="http://schemas.openxmlformats.org/presentationml/2006/main" xmlns:r="http://schemas.openxmlformats.org/officeDocument/2006/relationships" val="1"/>
          </a:ext>
        </a:extLst>
      </a:spPr>
      <a:bodyPr wrap="square" lIns="0" tIns="0" rIns="0" bIns="0" rtlCol="0">
        <a:noAutofit/>
      </a:bodyPr>
      <a:lstStyle>
        <a:defPPr algn="l" defTabSz="2438400">
          <a:buSzPct val="100000"/>
          <a:defRPr sz="2400" dirty="0" smtClean="0">
            <a:cs typeface="Arial" panose="020B0604020202020204" pitchFamily="34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60">
      <a:srgbClr val="DA1E28"/>
    </a:custClr>
    <a:custClr name="Red 50">
      <a:srgbClr val="FA4D56"/>
    </a:custClr>
    <a:custClr name="Red 30">
      <a:srgbClr val="FFB3B8"/>
    </a:custClr>
    <a:custClr name="Red 20">
      <a:srgbClr val="FFD7D9"/>
    </a:custClr>
    <a:custClr name="Red 10">
      <a:srgbClr val="FFF1F1"/>
    </a:custClr>
    <a:custClr name="Magenta 60">
      <a:srgbClr val="D02670"/>
    </a:custClr>
    <a:custClr name="Magenta 50">
      <a:srgbClr val="EE539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60">
      <a:srgbClr val="8A3FFC"/>
    </a:custClr>
    <a:custClr name="Purple 50">
      <a:srgbClr val="A56E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Teal 60">
      <a:srgbClr val="007D79"/>
    </a:custClr>
    <a:custClr name="Teal 50">
      <a:srgbClr val="009D9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een 60">
      <a:srgbClr val="198038"/>
    </a:custClr>
    <a:custClr name="Green 50">
      <a:srgbClr val="24A148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30">
      <a:srgbClr val="F1C21B"/>
    </a:custClr>
    <a:custClr name="Yellow 20">
      <a:srgbClr val="FDDC69"/>
    </a:custClr>
    <a:custClr name="Yellow 10">
      <a:srgbClr val="FCF4D6"/>
    </a:custClr>
    <a:custClr name="Blue 20">
      <a:srgbClr val="D0E2FF"/>
    </a:custClr>
    <a:custClr name="Blue 10">
      <a:srgbClr val="EDF5FF"/>
    </a:custClr>
  </a:custClrLst>
  <a:extLst>
    <a:ext uri="{05A4C25C-085E-4340-85A3-A5531E510DB2}">
      <thm15:themeFamily xmlns:thm15="http://schemas.microsoft.com/office/thememl/2012/main" name="IBM_presentation_template_v_1_4_Plex" id="{461DE280-6773-3240-A149-7E3C0A49F9FC}" vid="{119F70B9-3B70-5545-8722-9A4DAAA12CBF}"/>
    </a:ext>
  </a:extLst>
</a:theme>
</file>

<file path=ppt/theme/theme8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9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59341</TotalTime>
  <Words>686</Words>
  <Application>Microsoft Macintosh PowerPoint</Application>
  <PresentationFormat>On-screen Show (16:9)</PresentationFormat>
  <Paragraphs>112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6" baseType="lpstr">
      <vt:lpstr>.AppleSystemUIFont</vt:lpstr>
      <vt:lpstr>Arial</vt:lpstr>
      <vt:lpstr>Cambria</vt:lpstr>
      <vt:lpstr>HelvNeue Light for IBM</vt:lpstr>
      <vt:lpstr>IBM Plex Sans</vt:lpstr>
      <vt:lpstr>IBM Plex Sans ExtraLight</vt:lpstr>
      <vt:lpstr>IBM Plex Sans Light</vt:lpstr>
      <vt:lpstr>IBM Plex Sans Medium</vt:lpstr>
      <vt:lpstr>IBM Plex Sans Regular</vt:lpstr>
      <vt:lpstr>System Font Regular</vt:lpstr>
      <vt:lpstr>Tahoma</vt:lpstr>
      <vt:lpstr>Wingdings</vt:lpstr>
      <vt:lpstr>IBM Brand Template 2022</vt:lpstr>
      <vt:lpstr>IBM presentation template</vt:lpstr>
      <vt:lpstr>IBM 2019 Master template (light gray background)</vt:lpstr>
      <vt:lpstr>IBM presentation enablement template</vt:lpstr>
      <vt:lpstr>1_IBM presentation template</vt:lpstr>
      <vt:lpstr>8_IBM 2019 Master template (white background)</vt:lpstr>
      <vt:lpstr>1_IBM presentation enablement template</vt:lpstr>
      <vt:lpstr>think-cell Slide</vt:lpstr>
      <vt:lpstr>Trusted and Secure Generative AI (Gen AI)  Adoption       April 2024      </vt:lpstr>
      <vt:lpstr>The impact of generative AI |  The opportunity   </vt:lpstr>
      <vt:lpstr>The impact of generative AI |  The opportunity   </vt:lpstr>
      <vt:lpstr>However, the following barriers prevent organizations from benefiting from AI  </vt:lpstr>
      <vt:lpstr>PowerPoint Presentation</vt:lpstr>
      <vt:lpstr>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ivering a Secure Software Supply Chain            — Steve Weaver Product Manager, IBM Cloud</dc:title>
  <dc:creator>Steven J Weaver</dc:creator>
  <cp:lastModifiedBy>Mike DeVoll</cp:lastModifiedBy>
  <cp:revision>411</cp:revision>
  <cp:lastPrinted>2019-04-25T15:14:05Z</cp:lastPrinted>
  <dcterms:created xsi:type="dcterms:W3CDTF">2022-08-29T20:23:43Z</dcterms:created>
  <dcterms:modified xsi:type="dcterms:W3CDTF">2024-05-13T19:11:18Z</dcterms:modified>
</cp:coreProperties>
</file>